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4"/>
  </p:notesMasterIdLst>
  <p:sldIdLst>
    <p:sldId id="268" r:id="rId2"/>
    <p:sldId id="257" r:id="rId3"/>
    <p:sldId id="2366" r:id="rId4"/>
    <p:sldId id="2367" r:id="rId5"/>
    <p:sldId id="2368" r:id="rId6"/>
    <p:sldId id="2372" r:id="rId7"/>
    <p:sldId id="2373" r:id="rId8"/>
    <p:sldId id="2374" r:id="rId9"/>
    <p:sldId id="1852" r:id="rId10"/>
    <p:sldId id="2375" r:id="rId11"/>
    <p:sldId id="2396" r:id="rId12"/>
    <p:sldId id="2378" r:id="rId13"/>
    <p:sldId id="2379" r:id="rId14"/>
    <p:sldId id="2380" r:id="rId15"/>
    <p:sldId id="2388" r:id="rId16"/>
    <p:sldId id="2389" r:id="rId17"/>
    <p:sldId id="2383" r:id="rId18"/>
    <p:sldId id="2386" r:id="rId19"/>
    <p:sldId id="2387" r:id="rId20"/>
    <p:sldId id="2390" r:id="rId21"/>
    <p:sldId id="2344" r:id="rId22"/>
    <p:sldId id="2391" r:id="rId23"/>
    <p:sldId id="2392" r:id="rId24"/>
    <p:sldId id="2369" r:id="rId25"/>
    <p:sldId id="1710" r:id="rId26"/>
    <p:sldId id="1697" r:id="rId27"/>
    <p:sldId id="1698" r:id="rId28"/>
    <p:sldId id="1212" r:id="rId29"/>
    <p:sldId id="2384" r:id="rId30"/>
    <p:sldId id="2385" r:id="rId31"/>
    <p:sldId id="258" r:id="rId32"/>
    <p:sldId id="259" r:id="rId33"/>
  </p:sldIdLst>
  <p:sldSz cx="12192000" cy="6858000"/>
  <p:notesSz cx="6858000" cy="9144000"/>
  <p:defaultTextStyle>
    <a:defPPr>
      <a:defRPr lang="x-non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3666A"/>
    <a:srgbClr val="F6F4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774"/>
    <p:restoredTop sz="96327"/>
  </p:normalViewPr>
  <p:slideViewPr>
    <p:cSldViewPr snapToGrid="0" snapToObjects="1">
      <p:cViewPr>
        <p:scale>
          <a:sx n="122" d="100"/>
          <a:sy n="122" d="100"/>
        </p:scale>
        <p:origin x="-282" y="-4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53EF94-7513-C245-83AC-D414F2622DDE}" type="datetimeFigureOut">
              <a:rPr lang="x-none" smtClean="0"/>
              <a:t>21.02.2023</a:t>
            </a:fld>
            <a:endParaRPr lang="x-non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x-non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CF03DD-97C2-FB4A-B30E-154A149DEFE3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1759118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4F575C-A085-4A06-96E6-19C69E9499CF}" type="slidenum">
              <a:rPr lang="ru-RU" smtClean="0"/>
              <a:pPr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5884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30EE8C8-2317-4893-BDF7-6A38F9EBCFE7}" type="slidenum">
              <a:rPr lang="ru-RU" smtClean="0"/>
              <a:pPr>
                <a:defRPr/>
              </a:pPr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6233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30EE8C8-2317-4893-BDF7-6A38F9EBCFE7}" type="slidenum">
              <a:rPr lang="ru-RU" smtClean="0"/>
              <a:pPr>
                <a:defRPr/>
              </a:pPr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71869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333B08F-6EFF-474D-A583-3264B2717F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9A955DF-D71B-1A4A-867C-76BAB0A32C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96E74EB5-2D6A-404D-971B-EAD77E09ED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x-none" smtClean="0"/>
              <a:t>21.02.2023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CC44570-0611-6843-964B-F99B5D759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DC1C912-2A92-5245-AD6C-CFB516864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642781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28885AF-82A6-2040-8CC7-3A0C3208D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FD462FA1-AE1D-CB4E-9A68-2563524C66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D6E3103-ED12-9C45-8CDC-D03F4E9490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x-none" smtClean="0"/>
              <a:t>21.02.2023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F1A1A64-44EB-E14A-88F8-7782C9D321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8140F22-A92D-F540-9624-67206AC68D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3126268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B4A6790A-17F0-7F49-847D-4576846A4B0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DF9D4CAB-6200-DF4A-8002-F19525394B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A600A33-49C6-DD4E-BBC5-D3F531CFBB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x-none" smtClean="0"/>
              <a:t>21.02.2023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A7F28B9-7443-9D44-BBD1-5034D020E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15CFD0F-AAB2-3846-930A-7EC168F7C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8231693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A98CB99-7922-9A40-A9CE-6E017487A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E1E671A-F091-5548-85E7-1252DDEBD4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E47E826-2D55-A743-9F3A-2A05D9C8C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x-none" smtClean="0"/>
              <a:t>21.02.2023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4ED90B0-4352-7540-A04B-F43E6B761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175BEC7-ACCE-554C-B1E7-961076BC8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9225325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19943BF-53C2-B146-8E92-862546C7A5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E7D4105-4377-D64D-B746-37334DE57F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9EF8EB4-7C5D-B647-9741-3F7FFE42B2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x-none" smtClean="0"/>
              <a:t>21.02.2023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CDDF81C-968E-C243-B9E0-45A43E5C1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7BEFE31-3297-3649-B46F-F25ED53D35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2298836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D084960-7FCD-E54A-B1E8-6C5999DA4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803739F5-E4C8-674D-BF58-D4F32746FE0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C0D32C9E-76C3-1547-86C6-C605C08E65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93D7E010-D4C9-4246-9C6E-F592DA655F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x-none" smtClean="0"/>
              <a:t>21.02.2023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1A45EC7B-ACF6-FD47-BF37-746029FEA8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FE5BAAEF-F9B8-6845-8518-2F27CA22F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376714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3891BF2-4D45-9A4D-AD63-86270984D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61A0983-ADF6-1443-B243-F932F71160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392D0E58-1012-7B4E-BBA6-05F8DB6A59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8435A904-5499-6C44-B380-12C4D2FF33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F7BE015-8C51-894B-B54F-18C50806654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1F48199A-BB97-7341-A69C-D0EFB5FB5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x-none" smtClean="0"/>
              <a:t>21.02.2023</a:t>
            </a:fld>
            <a:endParaRPr lang="x-non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A9D9556-9F0F-7349-9FCB-E7DF393DA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C54B4FC6-0B58-B64F-A091-B87E0D8704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1516436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5A37DE9-4E8C-D34C-82D7-6A8F1CF01A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1AAE4FE9-A7E7-D945-8818-A6DCF17DFF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x-none" smtClean="0"/>
              <a:t>21.02.2023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95330671-49BD-2B43-89E8-DBA816078F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6387EC8B-CD5F-E34B-88A2-2E3CBF242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479067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A56906A-3D66-9945-B80D-55C44751A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x-none" smtClean="0"/>
              <a:t>21.02.2023</a:t>
            </a:fld>
            <a:endParaRPr lang="x-non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669C9BDE-FB7C-5546-A034-F65E8717F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209A6AF4-A90C-C846-A434-057E596F67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0649822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893CBFC-927E-6B40-8AFB-3B26247BB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8A56983F-C704-B442-BA55-B232822985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5D8A84D9-D0EA-1246-AFEF-BA23D72412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F69A6A65-3466-1A44-99EE-FC4F0A0872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x-none" smtClean="0"/>
              <a:t>21.02.2023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15C3DBE4-16A5-9147-9ECD-0B774A1DAF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9EE16800-A262-E248-84ED-959A62CA5A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0795410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81351FD-8B45-6F4F-8CCD-912C5310A1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5263F570-C064-B448-867B-5258878869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x-non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58B915EF-77CD-FB4B-8407-D5734413A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4C2114FB-1591-3B4F-A3B5-E3A779D66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x-none" smtClean="0"/>
              <a:t>21.02.2023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C3955910-8980-4A49-AB67-FF3DDAFB4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4DE91A1F-9C1A-E94C-BCFA-63B6A15BDC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7380301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96678A8B-09AF-134B-AEF2-8906C6E2E0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CA2D122-01F5-0C45-8105-98B093AEAE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515C198-E442-884E-9194-B52DE894AC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0BDDC5-A27E-3344-AEBA-D4D5892E3003}" type="datetimeFigureOut">
              <a:rPr lang="x-none" smtClean="0"/>
              <a:t>21.02.2023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6A37AEE-32D0-2344-84BA-06B5BA70C6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1042F46-7D08-7B41-973C-7367D3DCFA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F1841B-9294-9448-BADF-57A84A4FD1DD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510935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63.svg"/><Relationship Id="rId3" Type="http://schemas.openxmlformats.org/officeDocument/2006/relationships/image" Target="../media/image34.svg"/><Relationship Id="rId7" Type="http://schemas.openxmlformats.org/officeDocument/2006/relationships/image" Target="../media/image57.svg"/><Relationship Id="rId12" Type="http://schemas.openxmlformats.org/officeDocument/2006/relationships/image" Target="../media/image44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1.png"/><Relationship Id="rId11" Type="http://schemas.openxmlformats.org/officeDocument/2006/relationships/image" Target="../media/image61.svg"/><Relationship Id="rId5" Type="http://schemas.openxmlformats.org/officeDocument/2006/relationships/image" Target="../media/image55.svg"/><Relationship Id="rId10" Type="http://schemas.openxmlformats.org/officeDocument/2006/relationships/image" Target="../media/image43.png"/><Relationship Id="rId4" Type="http://schemas.openxmlformats.org/officeDocument/2006/relationships/image" Target="../media/image40.png"/><Relationship Id="rId9" Type="http://schemas.openxmlformats.org/officeDocument/2006/relationships/image" Target="../media/image59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63.svg"/><Relationship Id="rId3" Type="http://schemas.openxmlformats.org/officeDocument/2006/relationships/image" Target="../media/image34.svg"/><Relationship Id="rId7" Type="http://schemas.openxmlformats.org/officeDocument/2006/relationships/image" Target="../media/image57.svg"/><Relationship Id="rId12" Type="http://schemas.openxmlformats.org/officeDocument/2006/relationships/image" Target="../media/image44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1.png"/><Relationship Id="rId11" Type="http://schemas.openxmlformats.org/officeDocument/2006/relationships/image" Target="../media/image61.svg"/><Relationship Id="rId5" Type="http://schemas.openxmlformats.org/officeDocument/2006/relationships/image" Target="../media/image55.svg"/><Relationship Id="rId10" Type="http://schemas.openxmlformats.org/officeDocument/2006/relationships/image" Target="../media/image43.png"/><Relationship Id="rId4" Type="http://schemas.openxmlformats.org/officeDocument/2006/relationships/image" Target="../media/image40.png"/><Relationship Id="rId9" Type="http://schemas.openxmlformats.org/officeDocument/2006/relationships/image" Target="../media/image59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&#1095;&#1077;&#1089;&#1090;&#1085;&#1099;&#1081;&#1079;&#1085;&#1072;&#1082;.&#1088;&#1092;/business/projects/beer/discount/application/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18.png"/><Relationship Id="rId7" Type="http://schemas.openxmlformats.org/officeDocument/2006/relationships/image" Target="../media/image8.png"/><Relationship Id="rId12" Type="http://schemas.openxmlformats.org/officeDocument/2006/relationships/image" Target="../media/image26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svg"/><Relationship Id="rId11" Type="http://schemas.openxmlformats.org/officeDocument/2006/relationships/image" Target="../media/image20.png"/><Relationship Id="rId5" Type="http://schemas.openxmlformats.org/officeDocument/2006/relationships/image" Target="../media/image19.png"/><Relationship Id="rId10" Type="http://schemas.openxmlformats.org/officeDocument/2006/relationships/image" Target="../media/image11.svg"/><Relationship Id="rId4" Type="http://schemas.openxmlformats.org/officeDocument/2006/relationships/image" Target="../media/image22.svg"/><Relationship Id="rId9" Type="http://schemas.openxmlformats.org/officeDocument/2006/relationships/image" Target="../media/image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hyperlink" Target="https://&#1095;&#1077;&#1089;&#1090;&#1085;&#1099;&#1081;&#1079;&#1085;&#1072;&#1082;.&#1088;&#1092;/business/projects/dairy/materials/stock_list/" TargetMode="External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&#1095;&#1077;&#1089;&#1090;&#1085;&#1099;&#1081;&#1079;&#1085;&#1072;&#1082;.&#1088;&#1092;/business/projects/beer/box_solutions/solutions_manufacturers/" TargetMode="External"/><Relationship Id="rId5" Type="http://schemas.openxmlformats.org/officeDocument/2006/relationships/hyperlink" Target="https://&#1095;&#1077;&#1089;&#1090;&#1085;&#1099;&#1081;&#1079;&#1085;&#1072;&#1082;.&#1088;&#1092;/business/projects/beer/materials/labels/" TargetMode="External"/><Relationship Id="rId4" Type="http://schemas.openxmlformats.org/officeDocument/2006/relationships/hyperlink" Target="https://&#1095;&#1077;&#1089;&#1090;&#1085;&#1099;&#1081;&#1079;&#1085;&#1072;&#1082;.&#1088;&#1092;/business/projects/beer/partners/manufacturer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21.png"/><Relationship Id="rId3" Type="http://schemas.openxmlformats.org/officeDocument/2006/relationships/image" Target="../media/image47.png"/><Relationship Id="rId7" Type="http://schemas.microsoft.com/office/2007/relationships/hdphoto" Target="../media/hdphoto2.wdp"/><Relationship Id="rId12" Type="http://schemas.openxmlformats.org/officeDocument/2006/relationships/image" Target="../media/image71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11" Type="http://schemas.openxmlformats.org/officeDocument/2006/relationships/image" Target="../media/image50.png"/><Relationship Id="rId5" Type="http://schemas.openxmlformats.org/officeDocument/2006/relationships/image" Target="../media/image48.png"/><Relationship Id="rId15" Type="http://schemas.openxmlformats.org/officeDocument/2006/relationships/image" Target="../media/image51.png"/><Relationship Id="rId10" Type="http://schemas.microsoft.com/office/2007/relationships/hdphoto" Target="../media/hdphoto4.wdp"/><Relationship Id="rId4" Type="http://schemas.openxmlformats.org/officeDocument/2006/relationships/image" Target="../media/image67.svg"/><Relationship Id="rId9" Type="http://schemas.openxmlformats.org/officeDocument/2006/relationships/image" Target="../media/image49.png"/><Relationship Id="rId14" Type="http://schemas.openxmlformats.org/officeDocument/2006/relationships/image" Target="../media/image28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12.png"/><Relationship Id="rId3" Type="http://schemas.openxmlformats.org/officeDocument/2006/relationships/image" Target="../media/image71.svg"/><Relationship Id="rId7" Type="http://schemas.openxmlformats.org/officeDocument/2006/relationships/image" Target="../media/image76.svg"/><Relationship Id="rId12" Type="http://schemas.openxmlformats.org/officeDocument/2006/relationships/image" Target="../media/image79.sv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3.png"/><Relationship Id="rId11" Type="http://schemas.openxmlformats.org/officeDocument/2006/relationships/image" Target="../media/image55.png"/><Relationship Id="rId5" Type="http://schemas.openxmlformats.org/officeDocument/2006/relationships/image" Target="../media/image74.svg"/><Relationship Id="rId10" Type="http://schemas.openxmlformats.org/officeDocument/2006/relationships/image" Target="../media/image9.svg"/><Relationship Id="rId4" Type="http://schemas.openxmlformats.org/officeDocument/2006/relationships/image" Target="../media/image52.png"/><Relationship Id="rId9" Type="http://schemas.openxmlformats.org/officeDocument/2006/relationships/image" Target="../media/image8.png"/><Relationship Id="rId14" Type="http://schemas.openxmlformats.org/officeDocument/2006/relationships/image" Target="../media/image15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4.png"/><Relationship Id="rId3" Type="http://schemas.openxmlformats.org/officeDocument/2006/relationships/image" Target="../media/image71.svg"/><Relationship Id="rId7" Type="http://schemas.openxmlformats.org/officeDocument/2006/relationships/image" Target="../media/image74.svg"/><Relationship Id="rId12" Type="http://schemas.openxmlformats.org/officeDocument/2006/relationships/image" Target="../media/image54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2.png"/><Relationship Id="rId11" Type="http://schemas.openxmlformats.org/officeDocument/2006/relationships/image" Target="../media/image76.svg"/><Relationship Id="rId5" Type="http://schemas.openxmlformats.org/officeDocument/2006/relationships/image" Target="../media/image9.svg"/><Relationship Id="rId10" Type="http://schemas.openxmlformats.org/officeDocument/2006/relationships/image" Target="../media/image53.png"/><Relationship Id="rId4" Type="http://schemas.openxmlformats.org/officeDocument/2006/relationships/image" Target="../media/image8.png"/><Relationship Id="rId9" Type="http://schemas.openxmlformats.org/officeDocument/2006/relationships/image" Target="../media/image28.svg"/><Relationship Id="rId14" Type="http://schemas.openxmlformats.org/officeDocument/2006/relationships/image" Target="../media/image34.sv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5.png"/><Relationship Id="rId5" Type="http://schemas.openxmlformats.org/officeDocument/2006/relationships/image" Target="../media/image56.emf"/><Relationship Id="rId4" Type="http://schemas.openxmlformats.org/officeDocument/2006/relationships/oleObject" Target="../embeddings/oleObject1.bin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5.pn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8.png"/><Relationship Id="rId7" Type="http://schemas.openxmlformats.org/officeDocument/2006/relationships/image" Target="../media/image51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Relationship Id="rId9" Type="http://schemas.openxmlformats.org/officeDocument/2006/relationships/image" Target="../media/image63.jpe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4.png"/><Relationship Id="rId7" Type="http://schemas.openxmlformats.org/officeDocument/2006/relationships/hyperlink" Target="https://vk.com/crptec" TargetMode="External"/><Relationship Id="rId2" Type="http://schemas.openxmlformats.org/officeDocument/2006/relationships/hyperlink" Target="mailto:support@crpt.ru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6.png"/><Relationship Id="rId11" Type="http://schemas.openxmlformats.org/officeDocument/2006/relationships/hyperlink" Target="https://t.me/crptbreaking" TargetMode="External"/><Relationship Id="rId5" Type="http://schemas.openxmlformats.org/officeDocument/2006/relationships/hyperlink" Target="https://www.youtube.com/channel/UCkEJSvm2kK7Fc8nznr-oVlQ" TargetMode="External"/><Relationship Id="rId10" Type="http://schemas.openxmlformats.org/officeDocument/2006/relationships/image" Target="../media/image69.png"/><Relationship Id="rId4" Type="http://schemas.openxmlformats.org/officeDocument/2006/relationships/image" Target="../media/image65.png"/><Relationship Id="rId9" Type="http://schemas.openxmlformats.org/officeDocument/2006/relationships/image" Target="../media/image6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mailto:support@crpt.ru" TargetMode="External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sv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1.png"/><Relationship Id="rId18" Type="http://schemas.openxmlformats.org/officeDocument/2006/relationships/image" Target="../media/image32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6.svg"/><Relationship Id="rId17" Type="http://schemas.openxmlformats.org/officeDocument/2006/relationships/image" Target="../media/image23.png"/><Relationship Id="rId2" Type="http://schemas.openxmlformats.org/officeDocument/2006/relationships/image" Target="../media/image13.png"/><Relationship Id="rId16" Type="http://schemas.openxmlformats.org/officeDocument/2006/relationships/image" Target="../media/image30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11" Type="http://schemas.openxmlformats.org/officeDocument/2006/relationships/image" Target="../media/image20.png"/><Relationship Id="rId5" Type="http://schemas.openxmlformats.org/officeDocument/2006/relationships/image" Target="../media/image16.png"/><Relationship Id="rId15" Type="http://schemas.openxmlformats.org/officeDocument/2006/relationships/image" Target="../media/image22.png"/><Relationship Id="rId10" Type="http://schemas.openxmlformats.org/officeDocument/2006/relationships/image" Target="../media/image24.svg"/><Relationship Id="rId4" Type="http://schemas.openxmlformats.org/officeDocument/2006/relationships/image" Target="../media/image15.png"/><Relationship Id="rId9" Type="http://schemas.openxmlformats.org/officeDocument/2006/relationships/image" Target="../media/image19.png"/><Relationship Id="rId14" Type="http://schemas.openxmlformats.org/officeDocument/2006/relationships/image" Target="../media/image28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13" Type="http://schemas.openxmlformats.org/officeDocument/2006/relationships/image" Target="../media/image28.png"/><Relationship Id="rId3" Type="http://schemas.openxmlformats.org/officeDocument/2006/relationships/image" Target="../media/image24.png"/><Relationship Id="rId7" Type="http://schemas.openxmlformats.org/officeDocument/2006/relationships/image" Target="../media/image26.png"/><Relationship Id="rId12" Type="http://schemas.openxmlformats.org/officeDocument/2006/relationships/image" Target="../media/image40.svg"/><Relationship Id="rId2" Type="http://schemas.openxmlformats.org/officeDocument/2006/relationships/hyperlink" Target="https://markirovka.crpt.ru/register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6.svg"/><Relationship Id="rId11" Type="http://schemas.openxmlformats.org/officeDocument/2006/relationships/image" Target="../media/image27.png"/><Relationship Id="rId5" Type="http://schemas.openxmlformats.org/officeDocument/2006/relationships/image" Target="../media/image25.png"/><Relationship Id="rId10" Type="http://schemas.openxmlformats.org/officeDocument/2006/relationships/hyperlink" Target="https://kb.crpt.ru/_wt/video_instructions" TargetMode="External"/><Relationship Id="rId4" Type="http://schemas.openxmlformats.org/officeDocument/2006/relationships/image" Target="../media/image34.svg"/><Relationship Id="rId9" Type="http://schemas.openxmlformats.org/officeDocument/2006/relationships/hyperlink" Target="https://&#1095;&#1077;&#1089;&#1090;&#1085;&#1099;&#1081;&#1079;&#1085;&#1072;&#1082;.&#1088;&#1092;/business/doc/?id=&#1048;&#1085;&#1089;&#1090;&#1088;&#1091;&#1082;&#1094;&#1080;&#1103;_&#1087;&#1086;_&#1088;&#1077;&#1075;&#1080;&#1089;&#1090;&#1088;&#1072;&#1094;&#1080;&#1080;_&#1091;&#1095;&#1072;&#1089;&#1090;&#1085;&#1080;&#1082;&#1072;_&#1086;&#1073;&#1086;&#1088;&#1086;&#1090;&#1072;_&#1090;&#1086;&#1074;&#1072;&#1088;&#1086;&#1074;.html" TargetMode="External"/><Relationship Id="rId14" Type="http://schemas.openxmlformats.org/officeDocument/2006/relationships/image" Target="../media/image42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sv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453BF365-9511-21E5-1A26-F3419C9517D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65034" y="0"/>
            <a:ext cx="6417932" cy="6867940"/>
          </a:xfrm>
          <a:prstGeom prst="rect">
            <a:avLst/>
          </a:prstGeom>
        </p:spPr>
      </p:pic>
      <p:sp>
        <p:nvSpPr>
          <p:cNvPr id="5" name="Прямоугольник 17">
            <a:extLst>
              <a:ext uri="{FF2B5EF4-FFF2-40B4-BE49-F238E27FC236}">
                <a16:creationId xmlns:a16="http://schemas.microsoft.com/office/drawing/2014/main" xmlns="" id="{076EA0D3-D6B9-4848-8C57-535CBF4B28CD}"/>
              </a:ext>
            </a:extLst>
          </p:cNvPr>
          <p:cNvSpPr/>
          <p:nvPr/>
        </p:nvSpPr>
        <p:spPr>
          <a:xfrm>
            <a:off x="9035" y="0"/>
            <a:ext cx="6095999" cy="686794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highlight>
                <a:srgbClr val="595959"/>
              </a:highlight>
            </a:endParaRPr>
          </a:p>
        </p:txBody>
      </p:sp>
      <p:sp>
        <p:nvSpPr>
          <p:cNvPr id="6" name="Прямоугольник 3">
            <a:extLst>
              <a:ext uri="{FF2B5EF4-FFF2-40B4-BE49-F238E27FC236}">
                <a16:creationId xmlns:a16="http://schemas.microsoft.com/office/drawing/2014/main" xmlns="" id="{111138AE-DB9F-BD4F-9BAE-EE7937A30C54}"/>
              </a:ext>
            </a:extLst>
          </p:cNvPr>
          <p:cNvSpPr/>
          <p:nvPr/>
        </p:nvSpPr>
        <p:spPr>
          <a:xfrm>
            <a:off x="703561" y="1536327"/>
            <a:ext cx="5061472" cy="1029476"/>
          </a:xfrm>
          <a:prstGeom prst="rect">
            <a:avLst/>
          </a:prstGeom>
        </p:spPr>
        <p:txBody>
          <a:bodyPr wrap="square" lIns="0" tIns="144000" rIns="0" bIns="144000">
            <a:spAutoFit/>
          </a:bodyPr>
          <a:lstStyle/>
          <a:p>
            <a:pPr defTabSz="839852">
              <a:lnSpc>
                <a:spcPct val="100000"/>
              </a:lnSpc>
            </a:pPr>
            <a:r>
              <a:rPr lang="ru-RU" sz="2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ка пива</a:t>
            </a:r>
          </a:p>
          <a:p>
            <a:pPr defTabSz="839852">
              <a:lnSpc>
                <a:spcPct val="100000"/>
              </a:lnSpc>
            </a:pPr>
            <a:r>
              <a:rPr lang="ru-RU" sz="2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слабоалкогольных напитков</a:t>
            </a:r>
          </a:p>
        </p:txBody>
      </p:sp>
      <p:cxnSp>
        <p:nvCxnSpPr>
          <p:cNvPr id="7" name="Прямая соединительная линия 11">
            <a:extLst>
              <a:ext uri="{FF2B5EF4-FFF2-40B4-BE49-F238E27FC236}">
                <a16:creationId xmlns:a16="http://schemas.microsoft.com/office/drawing/2014/main" xmlns="" id="{2C9F3023-DFCF-BE41-9588-0E70E1311962}"/>
              </a:ext>
            </a:extLst>
          </p:cNvPr>
          <p:cNvCxnSpPr>
            <a:cxnSpLocks/>
          </p:cNvCxnSpPr>
          <p:nvPr/>
        </p:nvCxnSpPr>
        <p:spPr>
          <a:xfrm flipH="1">
            <a:off x="703561" y="2565801"/>
            <a:ext cx="4602217" cy="0"/>
          </a:xfrm>
          <a:prstGeom prst="line">
            <a:avLst/>
          </a:prstGeom>
          <a:ln w="41275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1">
            <a:extLst>
              <a:ext uri="{FF2B5EF4-FFF2-40B4-BE49-F238E27FC236}">
                <a16:creationId xmlns:a16="http://schemas.microsoft.com/office/drawing/2014/main" xmlns="" id="{B0102E84-F84A-6F41-95C9-36A92CF2459E}"/>
              </a:ext>
            </a:extLst>
          </p:cNvPr>
          <p:cNvSpPr/>
          <p:nvPr/>
        </p:nvSpPr>
        <p:spPr>
          <a:xfrm>
            <a:off x="703562" y="2565801"/>
            <a:ext cx="3724060" cy="752477"/>
          </a:xfrm>
          <a:prstGeom prst="rect">
            <a:avLst/>
          </a:prstGeom>
        </p:spPr>
        <p:txBody>
          <a:bodyPr wrap="square" lIns="0" tIns="144000" rIns="0" bIns="144000">
            <a:spAutoFit/>
          </a:bodyPr>
          <a:lstStyle/>
          <a:p>
            <a:pPr defTabSz="839852">
              <a:lnSpc>
                <a:spcPct val="100000"/>
              </a:lnSpc>
            </a:pPr>
            <a:r>
              <a:rPr lang="ru-RU" sz="15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становление Правительства РФ</a:t>
            </a:r>
          </a:p>
          <a:p>
            <a:pPr defTabSz="839852">
              <a:lnSpc>
                <a:spcPct val="100000"/>
              </a:lnSpc>
            </a:pPr>
            <a:r>
              <a:rPr lang="ru-RU" sz="15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 30 ноября 2022 г. № 2173</a:t>
            </a:r>
            <a:endParaRPr lang="ru-RU" sz="1500" dirty="0">
              <a:solidFill>
                <a:schemeClr val="bg1"/>
              </a:solidFill>
            </a:endParaRPr>
          </a:p>
        </p:txBody>
      </p:sp>
      <p:pic>
        <p:nvPicPr>
          <p:cNvPr id="10" name="Рисунок 12">
            <a:extLst>
              <a:ext uri="{FF2B5EF4-FFF2-40B4-BE49-F238E27FC236}">
                <a16:creationId xmlns:a16="http://schemas.microsoft.com/office/drawing/2014/main" xmlns="" id="{42C76869-C41B-8F46-B43B-F246B4899DB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560" y="5481565"/>
            <a:ext cx="3367545" cy="734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2640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ottle, indoor, counter, alcohol&#10;&#10;Description automatically generated">
            <a:extLst>
              <a:ext uri="{FF2B5EF4-FFF2-40B4-BE49-F238E27FC236}">
                <a16:creationId xmlns:a16="http://schemas.microsoft.com/office/drawing/2014/main" xmlns="" id="{6AAF634C-FC76-1FCB-1DD3-364FEFB786F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31C4D91-3018-8449-6333-857B0707B8E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3666A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3129566" y="2844800"/>
            <a:ext cx="5932868" cy="11684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нанести код маркировки?</a:t>
            </a:r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61875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Скругленный прямоугольник 8">
            <a:extLst>
              <a:ext uri="{FF2B5EF4-FFF2-40B4-BE49-F238E27FC236}">
                <a16:creationId xmlns:a16="http://schemas.microsoft.com/office/drawing/2014/main" xmlns="" id="{FA7FDF28-825E-25E4-C1FC-DB7FE9371549}"/>
              </a:ext>
            </a:extLst>
          </p:cNvPr>
          <p:cNvSpPr/>
          <p:nvPr/>
        </p:nvSpPr>
        <p:spPr>
          <a:xfrm>
            <a:off x="516000" y="4610244"/>
            <a:ext cx="11160000" cy="1887756"/>
          </a:xfrm>
          <a:prstGeom prst="roundRect">
            <a:avLst>
              <a:gd name="adj" fmla="val 6023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x-none" sz="2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Скругленный прямоугольник 131">
            <a:extLst>
              <a:ext uri="{FF2B5EF4-FFF2-40B4-BE49-F238E27FC236}">
                <a16:creationId xmlns:a16="http://schemas.microsoft.com/office/drawing/2014/main" xmlns="" id="{93756CDB-F566-C843-ACC2-6395FFDB2D46}"/>
              </a:ext>
            </a:extLst>
          </p:cNvPr>
          <p:cNvSpPr/>
          <p:nvPr/>
        </p:nvSpPr>
        <p:spPr>
          <a:xfrm>
            <a:off x="515999" y="2347774"/>
            <a:ext cx="3331171" cy="61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овара</a:t>
            </a:r>
            <a:r>
              <a:rPr lang="en-US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(</a:t>
            </a:r>
            <a:r>
              <a:rPr lang="en-GB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GTIN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)</a:t>
            </a:r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algn="ctr" defTabSz="1193566" hangingPunct="0">
              <a:defRPr/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личество символов -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14</a:t>
            </a:r>
          </a:p>
        </p:txBody>
      </p:sp>
      <p:sp>
        <p:nvSpPr>
          <p:cNvPr id="4" name="Скругленный прямоугольник 131">
            <a:extLst>
              <a:ext uri="{FF2B5EF4-FFF2-40B4-BE49-F238E27FC236}">
                <a16:creationId xmlns:a16="http://schemas.microsoft.com/office/drawing/2014/main" xmlns="" id="{A4E775EA-1DF8-3F94-1E96-6651B2658EF5}"/>
              </a:ext>
            </a:extLst>
          </p:cNvPr>
          <p:cNvSpPr/>
          <p:nvPr/>
        </p:nvSpPr>
        <p:spPr>
          <a:xfrm>
            <a:off x="4075154" y="2347773"/>
            <a:ext cx="3331171" cy="61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ерийный номер ед. товара (</a:t>
            </a:r>
            <a:r>
              <a:rPr lang="en-US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S/</a:t>
            </a:r>
            <a:r>
              <a:rPr lang="en-GB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N)</a:t>
            </a:r>
          </a:p>
          <a:p>
            <a:pPr algn="ctr" defTabSz="1193566" hangingPunct="0">
              <a:defRPr/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л-во символов - 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</a:t>
            </a:r>
          </a:p>
        </p:txBody>
      </p:sp>
      <p:sp>
        <p:nvSpPr>
          <p:cNvPr id="6" name="Скругленный прямоугольник 131">
            <a:extLst>
              <a:ext uri="{FF2B5EF4-FFF2-40B4-BE49-F238E27FC236}">
                <a16:creationId xmlns:a16="http://schemas.microsoft.com/office/drawing/2014/main" xmlns="" id="{E17CA2DB-72E7-D533-526F-004F821D7543}"/>
              </a:ext>
            </a:extLst>
          </p:cNvPr>
          <p:cNvSpPr/>
          <p:nvPr/>
        </p:nvSpPr>
        <p:spPr>
          <a:xfrm>
            <a:off x="516000" y="1483947"/>
            <a:ext cx="6840000" cy="442430"/>
          </a:xfrm>
          <a:prstGeom prst="roundRect">
            <a:avLst/>
          </a:prstGeom>
          <a:solidFill>
            <a:srgbClr val="63666A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идентификации</a:t>
            </a:r>
            <a:endParaRPr lang="ru-RU" sz="14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7" name="Скругленный прямоугольник 131">
            <a:extLst>
              <a:ext uri="{FF2B5EF4-FFF2-40B4-BE49-F238E27FC236}">
                <a16:creationId xmlns:a16="http://schemas.microsoft.com/office/drawing/2014/main" xmlns="" id="{2922C31F-BC34-678F-068E-C15D90DF6CE3}"/>
              </a:ext>
            </a:extLst>
          </p:cNvPr>
          <p:cNvSpPr/>
          <p:nvPr/>
        </p:nvSpPr>
        <p:spPr>
          <a:xfrm>
            <a:off x="7564582" y="1483947"/>
            <a:ext cx="4111418" cy="442430"/>
          </a:xfrm>
          <a:prstGeom prst="roundRect">
            <a:avLst/>
          </a:prstGeom>
          <a:solidFill>
            <a:srgbClr val="63666A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1193566" hangingPunct="0">
              <a:defRPr/>
            </a:pPr>
            <a:r>
              <a:rPr lang="ru-RU" sz="1400" b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проверки</a:t>
            </a:r>
            <a:endParaRPr lang="ru-RU" sz="14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8" name="Скругленный прямоугольник 131">
            <a:extLst>
              <a:ext uri="{FF2B5EF4-FFF2-40B4-BE49-F238E27FC236}">
                <a16:creationId xmlns:a16="http://schemas.microsoft.com/office/drawing/2014/main" xmlns="" id="{B03E2105-C419-50BD-4A05-38C4DD6B6AC9}"/>
              </a:ext>
            </a:extLst>
          </p:cNvPr>
          <p:cNvSpPr/>
          <p:nvPr/>
        </p:nvSpPr>
        <p:spPr>
          <a:xfrm>
            <a:off x="7564582" y="2347774"/>
            <a:ext cx="4111418" cy="61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1193566" hangingPunct="0">
              <a:defRPr/>
            </a:pPr>
            <a:r>
              <a:rPr lang="ru-RU" sz="1400" b="1" dirty="0" err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рипточасть</a:t>
            </a:r>
            <a:endParaRPr lang="ru-RU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algn="ctr" defTabSz="1193566" hangingPunct="0">
              <a:defRPr/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личество символов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4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77ED6D9B-EEDD-7924-FB8B-48C5586B9BD3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>
            <a:off x="9620291" y="1926377"/>
            <a:ext cx="0" cy="421397"/>
          </a:xfrm>
          <a:prstGeom prst="line">
            <a:avLst/>
          </a:prstGeom>
          <a:ln w="127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lbow Connector 10">
            <a:extLst>
              <a:ext uri="{FF2B5EF4-FFF2-40B4-BE49-F238E27FC236}">
                <a16:creationId xmlns:a16="http://schemas.microsoft.com/office/drawing/2014/main" xmlns="" id="{EEF21E4A-8CA9-EA5F-803E-0863819B9F2E}"/>
              </a:ext>
            </a:extLst>
          </p:cNvPr>
          <p:cNvCxnSpPr>
            <a:cxnSpLocks/>
            <a:stCxn id="6" idx="2"/>
            <a:endCxn id="2" idx="0"/>
          </p:cNvCxnSpPr>
          <p:nvPr/>
        </p:nvCxnSpPr>
        <p:spPr>
          <a:xfrm rot="5400000">
            <a:off x="2848095" y="1259868"/>
            <a:ext cx="421397" cy="1754415"/>
          </a:xfrm>
          <a:prstGeom prst="bentConnector3">
            <a:avLst>
              <a:gd name="adj1" fmla="val 50000"/>
            </a:avLst>
          </a:prstGeom>
          <a:ln w="127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lbow Connector 11">
            <a:extLst>
              <a:ext uri="{FF2B5EF4-FFF2-40B4-BE49-F238E27FC236}">
                <a16:creationId xmlns:a16="http://schemas.microsoft.com/office/drawing/2014/main" xmlns="" id="{DA0461B2-4A2D-A682-92D3-DFA9C64DF835}"/>
              </a:ext>
            </a:extLst>
          </p:cNvPr>
          <p:cNvCxnSpPr>
            <a:cxnSpLocks/>
            <a:stCxn id="6" idx="2"/>
            <a:endCxn id="4" idx="0"/>
          </p:cNvCxnSpPr>
          <p:nvPr/>
        </p:nvCxnSpPr>
        <p:spPr>
          <a:xfrm rot="16200000" flipH="1">
            <a:off x="4627672" y="1234705"/>
            <a:ext cx="421396" cy="1804740"/>
          </a:xfrm>
          <a:prstGeom prst="bentConnector3">
            <a:avLst>
              <a:gd name="adj1" fmla="val 50000"/>
            </a:avLst>
          </a:prstGeom>
          <a:ln w="127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BDBCB44C-59C6-EE83-EA5C-95FA6C486CA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6414" y="4950450"/>
            <a:ext cx="1233191" cy="123319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1716738A-9202-F75C-05B7-88788F872605}"/>
              </a:ext>
            </a:extLst>
          </p:cNvPr>
          <p:cNvSpPr txBox="1"/>
          <p:nvPr/>
        </p:nvSpPr>
        <p:spPr>
          <a:xfrm>
            <a:off x="2181584" y="4877751"/>
            <a:ext cx="678632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мер кода маркировки: </a:t>
            </a:r>
            <a:r>
              <a:rPr lang="en-US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&lt;FNC1&gt;0104664974393054215Ot:AR1&lt;GS&gt;93dGVz</a:t>
            </a:r>
            <a:endParaRPr lang="ru-RU" sz="1400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3A585268-67E7-C24A-EECB-E139B2F7F825}"/>
              </a:ext>
            </a:extLst>
          </p:cNvPr>
          <p:cNvSpPr txBox="1"/>
          <p:nvPr/>
        </p:nvSpPr>
        <p:spPr>
          <a:xfrm>
            <a:off x="2181587" y="5329527"/>
            <a:ext cx="4785884" cy="830574"/>
          </a:xfrm>
          <a:prstGeom prst="rect">
            <a:avLst/>
          </a:prstGeom>
          <a:noFill/>
        </p:spPr>
        <p:txBody>
          <a:bodyPr wrap="square" numCol="1" spcCol="180000">
            <a:noAutofit/>
          </a:bodyPr>
          <a:lstStyle/>
          <a:p>
            <a:pPr marL="285750" lvl="0" indent="-285750" defTabSz="1193566" hangingPunct="0">
              <a:spcBef>
                <a:spcPts val="600"/>
              </a:spcBef>
              <a:buBlip>
                <a:blip r:embed="rId3"/>
              </a:buBlip>
              <a:defRPr/>
            </a:pPr>
            <a:r>
              <a:rPr lang="en-US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&lt;FNC1&gt;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признак символики </a:t>
            </a:r>
            <a:r>
              <a:rPr lang="en-US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S1</a:t>
            </a:r>
          </a:p>
          <a:p>
            <a:pPr marL="285750" lvl="0" indent="-285750" defTabSz="1193566" hangingPunct="0">
              <a:spcBef>
                <a:spcPts val="600"/>
              </a:spcBef>
              <a:buBlip>
                <a:blip r:embed="rId3"/>
              </a:buBlip>
              <a:defRPr/>
            </a:pPr>
            <a:r>
              <a:rPr lang="en-US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TIN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код товара</a:t>
            </a:r>
            <a:r>
              <a:rPr lang="en-US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 – </a:t>
            </a:r>
            <a:r>
              <a:rPr lang="en-US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4664974393054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4 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имволов</a:t>
            </a:r>
          </a:p>
          <a:p>
            <a:pPr marL="285750" lvl="0" indent="-285750" defTabSz="1193566" hangingPunct="0">
              <a:spcBef>
                <a:spcPts val="600"/>
              </a:spcBef>
              <a:buBlip>
                <a:blip r:embed="rId3"/>
              </a:buBlip>
              <a:defRPr/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ерийный номер - </a:t>
            </a:r>
            <a:r>
              <a:rPr lang="en-US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Ot:AR1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7 символов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8AD66CB1-CAF1-5B86-8B9D-06EF2FBD787C}"/>
              </a:ext>
            </a:extLst>
          </p:cNvPr>
          <p:cNvSpPr txBox="1"/>
          <p:nvPr/>
        </p:nvSpPr>
        <p:spPr>
          <a:xfrm>
            <a:off x="7119448" y="5329527"/>
            <a:ext cx="4404574" cy="830574"/>
          </a:xfrm>
          <a:prstGeom prst="rect">
            <a:avLst/>
          </a:prstGeom>
          <a:noFill/>
        </p:spPr>
        <p:txBody>
          <a:bodyPr wrap="square" numCol="1" spcCol="180000">
            <a:noAutofit/>
          </a:bodyPr>
          <a:lstStyle/>
          <a:p>
            <a:pPr marL="285750" lvl="0" indent="-285750" defTabSz="1193566" hangingPunct="0">
              <a:spcBef>
                <a:spcPts val="600"/>
              </a:spcBef>
              <a:buBlip>
                <a:blip r:embed="rId3"/>
              </a:buBlip>
              <a:defRPr/>
            </a:pPr>
            <a:r>
              <a:rPr lang="en-US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&lt;GS&gt;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разделитель групп, непечатный символ</a:t>
            </a:r>
          </a:p>
          <a:p>
            <a:pPr marL="285750" indent="-285750" defTabSz="1193566" hangingPunct="0">
              <a:spcBef>
                <a:spcPts val="600"/>
              </a:spcBef>
              <a:buBlip>
                <a:blip r:embed="rId3"/>
              </a:buBlip>
              <a:defRPr/>
            </a:pPr>
            <a:r>
              <a:rPr lang="ru-RU" sz="1400" dirty="0" err="1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рипточасть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– </a:t>
            </a:r>
            <a:r>
              <a:rPr lang="en-US" sz="1400" b="1" dirty="0" err="1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GVz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4 символа)</a:t>
            </a:r>
            <a:endParaRPr lang="en-US" sz="1400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xmlns="" id="{15C49D60-5790-BDA3-2624-AC7598ED3CAD}"/>
              </a:ext>
            </a:extLst>
          </p:cNvPr>
          <p:cNvGrpSpPr/>
          <p:nvPr/>
        </p:nvGrpSpPr>
        <p:grpSpPr>
          <a:xfrm>
            <a:off x="515999" y="3299979"/>
            <a:ext cx="11160000" cy="907233"/>
            <a:chOff x="515999" y="3297772"/>
            <a:chExt cx="11302782" cy="907233"/>
          </a:xfrm>
        </p:grpSpPr>
        <p:sp>
          <p:nvSpPr>
            <p:cNvPr id="21" name="Скругленный прямоугольник 131">
              <a:extLst>
                <a:ext uri="{FF2B5EF4-FFF2-40B4-BE49-F238E27FC236}">
                  <a16:creationId xmlns:a16="http://schemas.microsoft.com/office/drawing/2014/main" xmlns="" id="{8FC5B0F0-A161-7B21-93B5-A48E66B81984}"/>
                </a:ext>
              </a:extLst>
            </p:cNvPr>
            <p:cNvSpPr/>
            <p:nvPr/>
          </p:nvSpPr>
          <p:spPr>
            <a:xfrm>
              <a:off x="515999" y="3297772"/>
              <a:ext cx="1665585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endParaRPr>
            </a:p>
            <a:p>
              <a:pPr lvl="0" algn="ctr" defTabSz="1193566" hangingPunct="0">
                <a:defRPr/>
              </a:pPr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Признак символики </a:t>
              </a: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GS1</a:t>
              </a:r>
              <a:b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</a:b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&lt;</a:t>
              </a: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FNC1&gt;</a:t>
              </a:r>
              <a:endParaRPr lang="en-US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endParaRPr>
            </a:p>
            <a:p>
              <a:pPr lvl="0" algn="ctr" defTabSz="1193566" hangingPunct="0">
                <a:defRPr/>
              </a:pP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Скругленный прямоугольник 131">
              <a:extLst>
                <a:ext uri="{FF2B5EF4-FFF2-40B4-BE49-F238E27FC236}">
                  <a16:creationId xmlns:a16="http://schemas.microsoft.com/office/drawing/2014/main" xmlns="" id="{CE85B837-D093-E7CA-727C-9D2334F8C7D5}"/>
                </a:ext>
              </a:extLst>
            </p:cNvPr>
            <p:cNvSpPr/>
            <p:nvPr/>
          </p:nvSpPr>
          <p:spPr>
            <a:xfrm>
              <a:off x="2434950" y="3297772"/>
              <a:ext cx="540000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01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Скругленный прямоугольник 131">
              <a:extLst>
                <a:ext uri="{FF2B5EF4-FFF2-40B4-BE49-F238E27FC236}">
                  <a16:creationId xmlns:a16="http://schemas.microsoft.com/office/drawing/2014/main" xmlns="" id="{064F1BDA-1CCA-FF40-763F-7AD585599884}"/>
                </a:ext>
              </a:extLst>
            </p:cNvPr>
            <p:cNvSpPr/>
            <p:nvPr/>
          </p:nvSpPr>
          <p:spPr>
            <a:xfrm>
              <a:off x="3481682" y="3297772"/>
              <a:ext cx="771889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GTIN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" name="Скругленный прямоугольник 131">
              <a:extLst>
                <a:ext uri="{FF2B5EF4-FFF2-40B4-BE49-F238E27FC236}">
                  <a16:creationId xmlns:a16="http://schemas.microsoft.com/office/drawing/2014/main" xmlns="" id="{FBA3EDC0-ADB6-ED06-53F3-9C23F465C9C5}"/>
                </a:ext>
              </a:extLst>
            </p:cNvPr>
            <p:cNvSpPr/>
            <p:nvPr/>
          </p:nvSpPr>
          <p:spPr>
            <a:xfrm>
              <a:off x="4765374" y="3297772"/>
              <a:ext cx="540000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21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" name="Скругленный прямоугольник 131">
              <a:extLst>
                <a:ext uri="{FF2B5EF4-FFF2-40B4-BE49-F238E27FC236}">
                  <a16:creationId xmlns:a16="http://schemas.microsoft.com/office/drawing/2014/main" xmlns="" id="{89EDD618-D922-A573-347B-47851832336E}"/>
                </a:ext>
              </a:extLst>
            </p:cNvPr>
            <p:cNvSpPr/>
            <p:nvPr/>
          </p:nvSpPr>
          <p:spPr>
            <a:xfrm>
              <a:off x="5817177" y="3297772"/>
              <a:ext cx="1346869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SERIAL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endParaRPr>
            </a:p>
            <a:p>
              <a:pPr lvl="0" algn="ctr" defTabSz="1193566" hangingPunct="0">
                <a:defRPr/>
              </a:pP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(7)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" name="Скругленный прямоугольник 131">
              <a:extLst>
                <a:ext uri="{FF2B5EF4-FFF2-40B4-BE49-F238E27FC236}">
                  <a16:creationId xmlns:a16="http://schemas.microsoft.com/office/drawing/2014/main" xmlns="" id="{65EA443A-DA7F-73F6-E209-EB8A7E8FAF60}"/>
                </a:ext>
              </a:extLst>
            </p:cNvPr>
            <p:cNvSpPr/>
            <p:nvPr/>
          </p:nvSpPr>
          <p:spPr>
            <a:xfrm>
              <a:off x="8756506" y="3297772"/>
              <a:ext cx="540000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93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5D65F11C-DF63-D1A0-90BF-3B16C618523C}"/>
                </a:ext>
              </a:extLst>
            </p:cNvPr>
            <p:cNvSpPr txBox="1"/>
            <p:nvPr/>
          </p:nvSpPr>
          <p:spPr>
            <a:xfrm>
              <a:off x="3054230" y="3322329"/>
              <a:ext cx="348172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x-none" sz="5000" b="1" dirty="0">
                  <a:solidFill>
                    <a:schemeClr val="bg1">
                      <a:lumMod val="95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xmlns="" id="{FFC0858F-2084-E2B2-960E-AF96AF3F0760}"/>
                </a:ext>
              </a:extLst>
            </p:cNvPr>
            <p:cNvSpPr txBox="1"/>
            <p:nvPr/>
          </p:nvSpPr>
          <p:spPr>
            <a:xfrm>
              <a:off x="4332851" y="3322329"/>
              <a:ext cx="348172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x-none" sz="5000" b="1" dirty="0">
                  <a:solidFill>
                    <a:schemeClr val="bg1">
                      <a:lumMod val="95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E05ED399-0210-E27A-D33D-900B747C928F}"/>
                </a:ext>
              </a:extLst>
            </p:cNvPr>
            <p:cNvSpPr txBox="1"/>
            <p:nvPr/>
          </p:nvSpPr>
          <p:spPr>
            <a:xfrm>
              <a:off x="5389725" y="3322329"/>
              <a:ext cx="348172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x-none" sz="5000" b="1" dirty="0">
                  <a:solidFill>
                    <a:schemeClr val="bg1">
                      <a:lumMod val="95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xmlns="" id="{83009B0F-D380-953E-888D-A346EE9D9DB9}"/>
                </a:ext>
              </a:extLst>
            </p:cNvPr>
            <p:cNvSpPr txBox="1"/>
            <p:nvPr/>
          </p:nvSpPr>
          <p:spPr>
            <a:xfrm>
              <a:off x="7243326" y="3322329"/>
              <a:ext cx="348172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x-none" sz="5000" b="1" dirty="0">
                  <a:solidFill>
                    <a:schemeClr val="bg1">
                      <a:lumMod val="95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33" name="Скругленный прямоугольник 131">
              <a:extLst>
                <a:ext uri="{FF2B5EF4-FFF2-40B4-BE49-F238E27FC236}">
                  <a16:creationId xmlns:a16="http://schemas.microsoft.com/office/drawing/2014/main" xmlns="" id="{7104AA65-F181-F980-1801-D00FB4BD1AB7}"/>
                </a:ext>
              </a:extLst>
            </p:cNvPr>
            <p:cNvSpPr/>
            <p:nvPr/>
          </p:nvSpPr>
          <p:spPr>
            <a:xfrm>
              <a:off x="7680970" y="3297772"/>
              <a:ext cx="540000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GS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xmlns="" id="{B6D94D25-1B81-89C5-2181-D35029C1EB5E}"/>
                </a:ext>
              </a:extLst>
            </p:cNvPr>
            <p:cNvSpPr txBox="1"/>
            <p:nvPr/>
          </p:nvSpPr>
          <p:spPr>
            <a:xfrm>
              <a:off x="8314652" y="3322329"/>
              <a:ext cx="348172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x-none" sz="5000" b="1" dirty="0">
                  <a:solidFill>
                    <a:schemeClr val="bg1">
                      <a:lumMod val="95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36" name="Скругленный прямоугольник 131">
              <a:extLst>
                <a:ext uri="{FF2B5EF4-FFF2-40B4-BE49-F238E27FC236}">
                  <a16:creationId xmlns:a16="http://schemas.microsoft.com/office/drawing/2014/main" xmlns="" id="{B05B504D-1713-3D44-04A8-DC87B039FAF1}"/>
                </a:ext>
              </a:extLst>
            </p:cNvPr>
            <p:cNvSpPr/>
            <p:nvPr/>
          </p:nvSpPr>
          <p:spPr>
            <a:xfrm>
              <a:off x="9832042" y="3297772"/>
              <a:ext cx="1986739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КОД ПРОВЕРКИ</a:t>
              </a:r>
            </a:p>
            <a:p>
              <a:pPr lvl="0" algn="ctr" defTabSz="1193566" hangingPunct="0">
                <a:defRPr/>
              </a:pPr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(4)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xmlns="" id="{572AEEB2-069C-A742-EA74-AB95030D3A06}"/>
                </a:ext>
              </a:extLst>
            </p:cNvPr>
            <p:cNvSpPr txBox="1"/>
            <p:nvPr/>
          </p:nvSpPr>
          <p:spPr>
            <a:xfrm>
              <a:off x="9390188" y="3322329"/>
              <a:ext cx="348172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x-none" sz="5000" b="1" dirty="0">
                  <a:solidFill>
                    <a:schemeClr val="bg1">
                      <a:lumMod val="95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</p:grpSp>
      <p:sp>
        <p:nvSpPr>
          <p:cNvPr id="39" name="Скругленный прямоугольник 8">
            <a:extLst>
              <a:ext uri="{FF2B5EF4-FFF2-40B4-BE49-F238E27FC236}">
                <a16:creationId xmlns:a16="http://schemas.microsoft.com/office/drawing/2014/main" xmlns="" id="{84BFF357-01EE-621B-0DCD-9EB8AC6045B5}"/>
              </a:ext>
            </a:extLst>
          </p:cNvPr>
          <p:cNvSpPr/>
          <p:nvPr/>
        </p:nvSpPr>
        <p:spPr>
          <a:xfrm>
            <a:off x="516000" y="327600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собенности структуры кода маркировки</a:t>
            </a:r>
            <a:endParaRPr lang="x-none" sz="2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10607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8">
            <a:extLst>
              <a:ext uri="{FF2B5EF4-FFF2-40B4-BE49-F238E27FC236}">
                <a16:creationId xmlns:a16="http://schemas.microsoft.com/office/drawing/2014/main" xmlns="" id="{AA6F8625-11AC-172B-EBE2-B9EADCC5CBCB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несение КМ на пиво в кеге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E940051D-D8F0-E482-789F-F415F7E14E5F}"/>
              </a:ext>
            </a:extLst>
          </p:cNvPr>
          <p:cNvSpPr txBox="1"/>
          <p:nvPr/>
        </p:nvSpPr>
        <p:spPr>
          <a:xfrm>
            <a:off x="512105" y="4771537"/>
            <a:ext cx="3833449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Укупорочное средство (в т.ч. крышка-пломба, термоусадочный колпачок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Внутренняя поверхность обечайки кега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«Плечо» кега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Внешняя поверхность обечайки кега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Внешняя поверхность кег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DD6F19CF-3560-317E-79C1-8702F259CDCB}"/>
              </a:ext>
            </a:extLst>
          </p:cNvPr>
          <p:cNvSpPr txBox="1"/>
          <p:nvPr/>
        </p:nvSpPr>
        <p:spPr>
          <a:xfrm>
            <a:off x="4529895" y="4791434"/>
            <a:ext cx="428625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Укупорочное средство (в т.ч. крышка-пломба, термоусадочный колпачок)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Внешняя поверхность полимерного кега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Одноразовая картонная упаковка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5EF3C0AE-A992-F940-5D48-12171DAC913B}"/>
              </a:ext>
            </a:extLst>
          </p:cNvPr>
          <p:cNvCxnSpPr/>
          <p:nvPr/>
        </p:nvCxnSpPr>
        <p:spPr>
          <a:xfrm>
            <a:off x="4345554" y="1356839"/>
            <a:ext cx="0" cy="5028511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xmlns="" id="{BA645335-EB0C-837D-FBF4-A0BAC0FED173}"/>
              </a:ext>
            </a:extLst>
          </p:cNvPr>
          <p:cNvSpPr/>
          <p:nvPr/>
        </p:nvSpPr>
        <p:spPr>
          <a:xfrm>
            <a:off x="8976000" y="1356840"/>
            <a:ext cx="2700000" cy="4922802"/>
          </a:xfrm>
          <a:prstGeom prst="roundRect">
            <a:avLst>
              <a:gd name="adj" fmla="val 6829"/>
            </a:avLst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0" rIns="108000" bIns="135000" rtlCol="0" anchor="t"/>
          <a:lstStyle/>
          <a:p>
            <a:pPr algn="ctr"/>
            <a:endParaRPr lang="ru-RU" sz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xmlns="" id="{B365C8B4-B18D-300E-E0C1-DCECD75AB39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732437" y="1824328"/>
            <a:ext cx="1177346" cy="108629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18E45809-653C-89E5-A8E3-959437F0E2D4}"/>
              </a:ext>
            </a:extLst>
          </p:cNvPr>
          <p:cNvSpPr txBox="1"/>
          <p:nvPr/>
        </p:nvSpPr>
        <p:spPr>
          <a:xfrm>
            <a:off x="8975989" y="3217265"/>
            <a:ext cx="2700000" cy="2308324"/>
          </a:xfrm>
          <a:prstGeom prst="rect">
            <a:avLst/>
          </a:prstGeom>
          <a:noFill/>
        </p:spPr>
        <p:txBody>
          <a:bodyPr wrap="square" lIns="108000" rIns="10800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поверхности кега </a:t>
            </a:r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 может </a:t>
            </a: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ходиться </a:t>
            </a:r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олее одного </a:t>
            </a: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редства идентификации, считываемого аппаратными средствам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 допускается </a:t>
            </a: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орот полимерного кега, на упаковку которого было нанесено средство идентификации, </a:t>
            </a:r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ез упаковки</a:t>
            </a: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вплоть до выбытия кега из оборота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F7A2026F-88FA-346D-4CE3-CABCF7125E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6337" y="1298198"/>
            <a:ext cx="2413000" cy="33274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80710C4A-8CA0-1FB7-E8D7-E0934AF0F9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37871" y="1556828"/>
            <a:ext cx="3771900" cy="300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404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ottle, indoor, counter, alcohol&#10;&#10;Description automatically generated">
            <a:extLst>
              <a:ext uri="{FF2B5EF4-FFF2-40B4-BE49-F238E27FC236}">
                <a16:creationId xmlns:a16="http://schemas.microsoft.com/office/drawing/2014/main" xmlns="" id="{6AAF634C-FC76-1FCB-1DD3-364FEFB786F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31C4D91-3018-8449-6333-857B0707B8E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3666A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3129566" y="2844800"/>
            <a:ext cx="5932868" cy="11684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подготовиться производителю?</a:t>
            </a:r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43345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Скругленный прямоугольник 8">
            <a:extLst>
              <a:ext uri="{FF2B5EF4-FFF2-40B4-BE49-F238E27FC236}">
                <a16:creationId xmlns:a16="http://schemas.microsoft.com/office/drawing/2014/main" xmlns="" id="{C1FDC115-CECF-74E9-A447-92CD264A4371}"/>
              </a:ext>
            </a:extLst>
          </p:cNvPr>
          <p:cNvSpPr/>
          <p:nvPr/>
        </p:nvSpPr>
        <p:spPr>
          <a:xfrm>
            <a:off x="516000" y="5636633"/>
            <a:ext cx="11160000" cy="865470"/>
          </a:xfrm>
          <a:prstGeom prst="round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eaLnBrk="1" hangingPunct="1">
              <a:defRPr/>
            </a:pPr>
            <a:endParaRPr lang="ru-RU" altLang="ru-RU" sz="20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Скругленный прямоугольник 8">
            <a:extLst>
              <a:ext uri="{FF2B5EF4-FFF2-40B4-BE49-F238E27FC236}">
                <a16:creationId xmlns:a16="http://schemas.microsoft.com/office/drawing/2014/main" xmlns="" id="{AA6F8625-11AC-172B-EBE2-B9EADCC5CBCB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eaLnBrk="1" hangingPunct="1">
              <a:defRPr/>
            </a:pPr>
            <a:r>
              <a:rPr lang="ru-RU" alt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лые предприятия: что потребуется для работы с пивом </a:t>
            </a:r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xmlns="" id="{6F37BBF5-F556-AA4B-B490-31BBDA83C92A}"/>
              </a:ext>
            </a:extLst>
          </p:cNvPr>
          <p:cNvSpPr txBox="1"/>
          <p:nvPr/>
        </p:nvSpPr>
        <p:spPr>
          <a:xfrm>
            <a:off x="693492" y="3094149"/>
            <a:ext cx="2790000" cy="1088760"/>
          </a:xfrm>
          <a:prstGeom prst="rect">
            <a:avLst/>
          </a:prstGeom>
        </p:spPr>
        <p:txBody>
          <a:bodyPr vert="horz" wrap="square" lIns="180000" tIns="11430" rIns="18000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КЭП</a:t>
            </a:r>
          </a:p>
          <a:p>
            <a:pPr lvl="0">
              <a:spcBef>
                <a:spcPts val="600"/>
              </a:spcBef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оимость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 2000 руб.</a:t>
            </a:r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0">
              <a:spcBef>
                <a:spcPts val="600"/>
              </a:spcBef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Если организация уже использует электронную подпись, можно использовать ее.</a:t>
            </a:r>
          </a:p>
        </p:txBody>
      </p:sp>
      <p:sp>
        <p:nvSpPr>
          <p:cNvPr id="11" name="object 10">
            <a:extLst>
              <a:ext uri="{FF2B5EF4-FFF2-40B4-BE49-F238E27FC236}">
                <a16:creationId xmlns:a16="http://schemas.microsoft.com/office/drawing/2014/main" xmlns="" id="{7A732D29-FEE6-D374-F888-0714ACEAA068}"/>
              </a:ext>
            </a:extLst>
          </p:cNvPr>
          <p:cNvSpPr txBox="1"/>
          <p:nvPr/>
        </p:nvSpPr>
        <p:spPr>
          <a:xfrm>
            <a:off x="6273492" y="3094149"/>
            <a:ext cx="2790000" cy="1611980"/>
          </a:xfrm>
          <a:prstGeom prst="rect">
            <a:avLst/>
          </a:prstGeom>
        </p:spPr>
        <p:txBody>
          <a:bodyPr vert="horz" wrap="square" lIns="180000" tIns="11430" rIns="180000" bIns="0" rtlCol="0">
            <a:spAutoFit/>
          </a:bodyPr>
          <a:lstStyle/>
          <a:p>
            <a:pPr lvl="0">
              <a:spcBef>
                <a:spcPts val="600"/>
              </a:spcBef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r>
              <a:rPr lang="en-US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 </a:t>
            </a: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КАНЕР ШТРИХ-КОДОВ</a:t>
            </a:r>
          </a:p>
          <a:p>
            <a:pPr lvl="0">
              <a:spcBef>
                <a:spcPts val="600"/>
              </a:spcBef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оимость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 3 000 руб. </a:t>
            </a:r>
          </a:p>
          <a:p>
            <a:pPr lvl="0">
              <a:spcBef>
                <a:spcPts val="600"/>
              </a:spcBef>
            </a:pPr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0">
              <a:spcBef>
                <a:spcPts val="600"/>
              </a:spcBef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сканирования кодов и передачи сведений в ГИС МТ</a:t>
            </a:r>
          </a:p>
          <a:p>
            <a:pPr lvl="0">
              <a:spcBef>
                <a:spcPts val="600"/>
              </a:spcBef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не обязательно при использовании ЛК ГИС МТ)</a:t>
            </a:r>
          </a:p>
        </p:txBody>
      </p:sp>
      <p:sp>
        <p:nvSpPr>
          <p:cNvPr id="12" name="object 10">
            <a:extLst>
              <a:ext uri="{FF2B5EF4-FFF2-40B4-BE49-F238E27FC236}">
                <a16:creationId xmlns:a16="http://schemas.microsoft.com/office/drawing/2014/main" xmlns="" id="{729CA461-8C87-63D6-01A2-D1687BA8DB8E}"/>
              </a:ext>
            </a:extLst>
          </p:cNvPr>
          <p:cNvSpPr txBox="1"/>
          <p:nvPr/>
        </p:nvSpPr>
        <p:spPr>
          <a:xfrm>
            <a:off x="3483492" y="3094149"/>
            <a:ext cx="2790000" cy="1642757"/>
          </a:xfrm>
          <a:prstGeom prst="rect">
            <a:avLst/>
          </a:prstGeom>
        </p:spPr>
        <p:txBody>
          <a:bodyPr vert="horz" wrap="square" lIns="180000" tIns="11430" rIns="18000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НТЕР ЭТИКЕТОК</a:t>
            </a:r>
          </a:p>
          <a:p>
            <a:pPr lvl="0">
              <a:spcBef>
                <a:spcPts val="600"/>
              </a:spcBef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оимость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 11 000 руб. </a:t>
            </a:r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0">
              <a:spcBef>
                <a:spcPts val="600"/>
              </a:spcBef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Если этикетки уже печатаются на продукции приобретать отдельный принтер не нужно. Можно настроить текущий, при условии поддержки </a:t>
            </a:r>
            <a:r>
              <a:rPr lang="en-US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ataMatrix</a:t>
            </a:r>
            <a:r>
              <a:rPr lang="en-US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GS1</a:t>
            </a:r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xmlns="" id="{D5620906-AD64-565C-8048-954B26D0D56F}"/>
              </a:ext>
            </a:extLst>
          </p:cNvPr>
          <p:cNvSpPr txBox="1"/>
          <p:nvPr/>
        </p:nvSpPr>
        <p:spPr>
          <a:xfrm>
            <a:off x="9063492" y="3094149"/>
            <a:ext cx="2790000" cy="2350643"/>
          </a:xfrm>
          <a:prstGeom prst="rect">
            <a:avLst/>
          </a:prstGeom>
        </p:spPr>
        <p:txBody>
          <a:bodyPr vert="horz" wrap="square" lIns="180000" tIns="11430" rIns="18000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К ЧЗ ИЛИ ПО</a:t>
            </a:r>
          </a:p>
          <a:p>
            <a:pPr>
              <a:spcBef>
                <a:spcPts val="600"/>
              </a:spcBef>
            </a:pP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есь функционал бесплатно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ступен в личном кабинете.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ли использовать бесплатное решение от Оператора </a:t>
            </a:r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ркировка.Просто</a:t>
            </a:r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>
              <a:spcBef>
                <a:spcPts val="600"/>
              </a:spcBef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ли использовать стандартный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ункционал 1С</a:t>
            </a:r>
          </a:p>
          <a:p>
            <a:pPr lvl="0">
              <a:spcBef>
                <a:spcPts val="600"/>
              </a:spcBef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ли коммерческие коробочные решения от системных интеграторов</a:t>
            </a:r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xmlns="" id="{DF66A6DD-0B23-1CC4-ED7B-BB3F18B1DBB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6311" y="1453964"/>
            <a:ext cx="1080000" cy="1080000"/>
          </a:xfrm>
          <a:prstGeom prst="rect">
            <a:avLst/>
          </a:prstGeom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xmlns="" id="{F559C53F-AACD-7010-FD0D-233367D2BB4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26620" y="1453964"/>
            <a:ext cx="1080000" cy="1080000"/>
          </a:xfrm>
          <a:prstGeom prst="rect">
            <a:avLst/>
          </a:prstGeom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xmlns="" id="{72C37B37-AC4B-84F6-FD0C-7DAB39D004D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9748" y="1453964"/>
            <a:ext cx="1080000" cy="1080000"/>
          </a:xfrm>
          <a:prstGeom prst="rect">
            <a:avLst/>
          </a:prstGeom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xmlns="" id="{0D4E44F7-E78D-E18B-18F2-602FD1A89A3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85999" y="1453964"/>
            <a:ext cx="1144068" cy="1080000"/>
          </a:xfrm>
          <a:prstGeom prst="rect">
            <a:avLst/>
          </a:prstGeom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xmlns="" id="{8D105CAA-81A1-86C4-7E50-09178400B8DE}"/>
              </a:ext>
            </a:extLst>
          </p:cNvPr>
          <p:cNvCxnSpPr>
            <a:cxnSpLocks/>
            <a:stCxn id="34" idx="4"/>
          </p:cNvCxnSpPr>
          <p:nvPr/>
        </p:nvCxnSpPr>
        <p:spPr>
          <a:xfrm flipH="1">
            <a:off x="693491" y="2902308"/>
            <a:ext cx="1" cy="2455303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xmlns="" id="{FA2A4F98-B954-4F59-30EB-AC985656CA0C}"/>
              </a:ext>
            </a:extLst>
          </p:cNvPr>
          <p:cNvCxnSpPr>
            <a:cxnSpLocks/>
            <a:stCxn id="37" idx="4"/>
          </p:cNvCxnSpPr>
          <p:nvPr/>
        </p:nvCxnSpPr>
        <p:spPr>
          <a:xfrm>
            <a:off x="3483490" y="2902308"/>
            <a:ext cx="2" cy="2455303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xmlns="" id="{1F624D4E-EECC-4C3A-92DF-BA636FBD9235}"/>
              </a:ext>
            </a:extLst>
          </p:cNvPr>
          <p:cNvCxnSpPr>
            <a:cxnSpLocks/>
            <a:stCxn id="35" idx="4"/>
          </p:cNvCxnSpPr>
          <p:nvPr/>
        </p:nvCxnSpPr>
        <p:spPr>
          <a:xfrm>
            <a:off x="6273492" y="2902308"/>
            <a:ext cx="0" cy="2455303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xmlns="" id="{0E0704F2-B900-9779-E2F4-3CBC26E83E3F}"/>
              </a:ext>
            </a:extLst>
          </p:cNvPr>
          <p:cNvCxnSpPr>
            <a:cxnSpLocks/>
            <a:stCxn id="36" idx="4"/>
          </p:cNvCxnSpPr>
          <p:nvPr/>
        </p:nvCxnSpPr>
        <p:spPr>
          <a:xfrm>
            <a:off x="9063491" y="2902308"/>
            <a:ext cx="1" cy="2455303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1B13D048-ECB9-0A9A-FCB8-EE3C52F73BF7}"/>
              </a:ext>
            </a:extLst>
          </p:cNvPr>
          <p:cNvSpPr/>
          <p:nvPr/>
        </p:nvSpPr>
        <p:spPr>
          <a:xfrm>
            <a:off x="516000" y="2547325"/>
            <a:ext cx="354983" cy="354983"/>
          </a:xfrm>
          <a:prstGeom prst="ellipse">
            <a:avLst/>
          </a:prstGeom>
          <a:solidFill>
            <a:srgbClr val="63666A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x-none" sz="12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Oval 18">
            <a:extLst>
              <a:ext uri="{FF2B5EF4-FFF2-40B4-BE49-F238E27FC236}">
                <a16:creationId xmlns:a16="http://schemas.microsoft.com/office/drawing/2014/main" xmlns="" id="{B992958A-32CB-015A-CCAD-09E4A6D5D2F0}"/>
              </a:ext>
            </a:extLst>
          </p:cNvPr>
          <p:cNvSpPr/>
          <p:nvPr/>
        </p:nvSpPr>
        <p:spPr>
          <a:xfrm>
            <a:off x="6096000" y="2547325"/>
            <a:ext cx="354983" cy="354983"/>
          </a:xfrm>
          <a:prstGeom prst="ellipse">
            <a:avLst/>
          </a:prstGeom>
          <a:solidFill>
            <a:srgbClr val="63666A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x-none" sz="12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Oval 19">
            <a:extLst>
              <a:ext uri="{FF2B5EF4-FFF2-40B4-BE49-F238E27FC236}">
                <a16:creationId xmlns:a16="http://schemas.microsoft.com/office/drawing/2014/main" xmlns="" id="{D952739F-29E8-E7F5-EF6A-BA7935480206}"/>
              </a:ext>
            </a:extLst>
          </p:cNvPr>
          <p:cNvSpPr/>
          <p:nvPr/>
        </p:nvSpPr>
        <p:spPr>
          <a:xfrm>
            <a:off x="8885999" y="2547325"/>
            <a:ext cx="354983" cy="354983"/>
          </a:xfrm>
          <a:prstGeom prst="ellipse">
            <a:avLst/>
          </a:prstGeom>
          <a:solidFill>
            <a:srgbClr val="63666A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</a:t>
            </a:r>
            <a:endParaRPr lang="x-none" sz="12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Oval 15">
            <a:extLst>
              <a:ext uri="{FF2B5EF4-FFF2-40B4-BE49-F238E27FC236}">
                <a16:creationId xmlns:a16="http://schemas.microsoft.com/office/drawing/2014/main" xmlns="" id="{F7FDAF0A-D3DC-A088-C4D2-0876C57D06B8}"/>
              </a:ext>
            </a:extLst>
          </p:cNvPr>
          <p:cNvSpPr/>
          <p:nvPr/>
        </p:nvSpPr>
        <p:spPr>
          <a:xfrm>
            <a:off x="3305998" y="2547325"/>
            <a:ext cx="354983" cy="354983"/>
          </a:xfrm>
          <a:prstGeom prst="ellipse">
            <a:avLst/>
          </a:prstGeom>
          <a:solidFill>
            <a:srgbClr val="63666A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x-none" sz="12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xmlns="" id="{E733D7B0-F41E-8166-C2D5-BF2E1806E7DC}"/>
              </a:ext>
            </a:extLst>
          </p:cNvPr>
          <p:cNvGrpSpPr/>
          <p:nvPr/>
        </p:nvGrpSpPr>
        <p:grpSpPr>
          <a:xfrm>
            <a:off x="1320839" y="5846230"/>
            <a:ext cx="9550323" cy="446276"/>
            <a:chOff x="1564144" y="5846230"/>
            <a:chExt cx="9550323" cy="446276"/>
          </a:xfrm>
        </p:grpSpPr>
        <p:sp>
          <p:nvSpPr>
            <p:cNvPr id="39" name="object 10">
              <a:extLst>
                <a:ext uri="{FF2B5EF4-FFF2-40B4-BE49-F238E27FC236}">
                  <a16:creationId xmlns:a16="http://schemas.microsoft.com/office/drawing/2014/main" xmlns="" id="{EC7A810F-0C63-2EE5-572C-C41B5B669206}"/>
                </a:ext>
              </a:extLst>
            </p:cNvPr>
            <p:cNvSpPr txBox="1"/>
            <p:nvPr/>
          </p:nvSpPr>
          <p:spPr>
            <a:xfrm>
              <a:off x="3014005" y="5846230"/>
              <a:ext cx="8100462" cy="44627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200" b="1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От 0 руб</a:t>
              </a:r>
              <a:r>
                <a:rPr lang="ru-RU" sz="1200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. – минимально (если уже есть используемое оборудование)</a:t>
              </a:r>
            </a:p>
            <a:p>
              <a:pPr lvl="0">
                <a:spcBef>
                  <a:spcPts val="600"/>
                </a:spcBef>
              </a:pPr>
              <a:r>
                <a:rPr lang="ru-RU" sz="1200" b="1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16 000 руб.</a:t>
              </a:r>
              <a:r>
                <a:rPr lang="ru-RU" sz="1200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- минимальная стоимость оснащения с бесплатным ПО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ru-RU" sz="1200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и участии в программе поддержки Оператора</a:t>
              </a:r>
            </a:p>
          </p:txBody>
        </p:sp>
        <p:sp>
          <p:nvSpPr>
            <p:cNvPr id="40" name="object 10">
              <a:extLst>
                <a:ext uri="{FF2B5EF4-FFF2-40B4-BE49-F238E27FC236}">
                  <a16:creationId xmlns:a16="http://schemas.microsoft.com/office/drawing/2014/main" xmlns="" id="{C41E9E8B-F5B7-D9CB-7EC5-464CA98DAA47}"/>
                </a:ext>
              </a:extLst>
            </p:cNvPr>
            <p:cNvSpPr txBox="1"/>
            <p:nvPr/>
          </p:nvSpPr>
          <p:spPr>
            <a:xfrm>
              <a:off x="1564144" y="5853925"/>
              <a:ext cx="1586249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lvl="0" algn="just"/>
              <a:r>
                <a:rPr lang="ru-RU" sz="2800" b="1" dirty="0">
                  <a:solidFill>
                    <a:srgbClr val="F6F42E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ИТОГО: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647372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xmlns="" id="{D78DFB76-168E-9085-4807-2BAD8685E4FE}"/>
              </a:ext>
            </a:extLst>
          </p:cNvPr>
          <p:cNvCxnSpPr>
            <a:cxnSpLocks/>
            <a:stCxn id="51" idx="6"/>
          </p:cNvCxnSpPr>
          <p:nvPr/>
        </p:nvCxnSpPr>
        <p:spPr>
          <a:xfrm flipV="1">
            <a:off x="903492" y="3478576"/>
            <a:ext cx="9802978" cy="23448"/>
          </a:xfrm>
          <a:prstGeom prst="straightConnector1">
            <a:avLst/>
          </a:prstGeom>
          <a:ln w="25400">
            <a:solidFill>
              <a:srgbClr val="63666A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Скругленный прямоугольник 8">
            <a:extLst>
              <a:ext uri="{FF2B5EF4-FFF2-40B4-BE49-F238E27FC236}">
                <a16:creationId xmlns:a16="http://schemas.microsoft.com/office/drawing/2014/main" xmlns="" id="{AA6F8625-11AC-172B-EBE2-B9EADCC5CBCB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подготовиться самостоятельно</a:t>
            </a:r>
            <a:endParaRPr lang="x-none" sz="20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ACCAA05D-966A-0A98-B01E-BF0BE72B35DC}"/>
              </a:ext>
            </a:extLst>
          </p:cNvPr>
          <p:cNvSpPr txBox="1"/>
          <p:nvPr/>
        </p:nvSpPr>
        <p:spPr>
          <a:xfrm>
            <a:off x="-114554" y="3729439"/>
            <a:ext cx="186000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регистрироваться</a:t>
            </a:r>
          </a:p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системе </a:t>
            </a:r>
          </a:p>
          <a:p>
            <a:pPr algn="ctr"/>
            <a:endParaRPr lang="ru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регистрации наличие УКЭП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352CE0D0-2F92-ADC2-4D8F-9664B395FD36}"/>
              </a:ext>
            </a:extLst>
          </p:cNvPr>
          <p:cNvSpPr txBox="1"/>
          <p:nvPr/>
        </p:nvSpPr>
        <p:spPr>
          <a:xfrm>
            <a:off x="1656000" y="3842448"/>
            <a:ext cx="1860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писать договор</a:t>
            </a:r>
          </a:p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Оператором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3BC987A1-7E64-7C20-157D-0ED61BE20F4A}"/>
              </a:ext>
            </a:extLst>
          </p:cNvPr>
          <p:cNvSpPr txBox="1"/>
          <p:nvPr/>
        </p:nvSpPr>
        <p:spPr>
          <a:xfrm>
            <a:off x="3190006" y="3856035"/>
            <a:ext cx="1860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писать товар</a:t>
            </a:r>
          </a:p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КМТ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6F45DF0F-5355-B88F-F049-B1CE463723AD}"/>
              </a:ext>
            </a:extLst>
          </p:cNvPr>
          <p:cNvSpPr txBox="1"/>
          <p:nvPr/>
        </p:nvSpPr>
        <p:spPr>
          <a:xfrm>
            <a:off x="7242783" y="3843888"/>
            <a:ext cx="14435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казать</a:t>
            </a:r>
          </a:p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М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21DA2EA2-064A-33DC-1426-2AE7DFF39E8A}"/>
              </a:ext>
            </a:extLst>
          </p:cNvPr>
          <p:cNvSpPr txBox="1"/>
          <p:nvPr/>
        </p:nvSpPr>
        <p:spPr>
          <a:xfrm>
            <a:off x="8851722" y="3828408"/>
            <a:ext cx="14435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нести </a:t>
            </a:r>
          </a:p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М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93A8134C-FB1D-C0CB-66A5-E8A13E607546}"/>
              </a:ext>
            </a:extLst>
          </p:cNvPr>
          <p:cNvSpPr txBox="1"/>
          <p:nvPr/>
        </p:nvSpPr>
        <p:spPr>
          <a:xfrm>
            <a:off x="4731589" y="3845324"/>
            <a:ext cx="2692977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брать техническое решение 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внедрения маркировки</a:t>
            </a:r>
          </a:p>
          <a:p>
            <a:pPr algn="ctr"/>
            <a:endParaRPr lang="ru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упить самостоятельно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оспользоваться программами поддержки от Оператор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спользовать имеющиеся оборудование 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xmlns="" id="{EA9AF3D0-EF6A-1751-C675-305146C564C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14600" y="2216121"/>
            <a:ext cx="622800" cy="720833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xmlns="" id="{2E352E73-3DE5-9A60-49A0-5AF18FF4693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2190000" y="2285082"/>
            <a:ext cx="792000" cy="582911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xmlns="" id="{1E4869F9-EAB6-DD2F-1C3A-3DB3E186E54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/>
          <a:stretch/>
        </p:blipFill>
        <p:spPr>
          <a:xfrm>
            <a:off x="3794011" y="2267564"/>
            <a:ext cx="720000" cy="64512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xmlns="" id="{4888BC8E-5C54-58B9-1765-1184181C8BB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/>
          <a:stretch/>
        </p:blipFill>
        <p:spPr>
          <a:xfrm>
            <a:off x="7640539" y="2253977"/>
            <a:ext cx="648000" cy="64800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xmlns="" id="{CD1C614E-F93B-7B5E-905F-ADEAADE7FC1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rcRect/>
          <a:stretch/>
        </p:blipFill>
        <p:spPr>
          <a:xfrm>
            <a:off x="9231719" y="2202497"/>
            <a:ext cx="683519" cy="72000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xmlns="" id="{3DEBAE2B-8512-32FB-69A8-A7F6BD257B6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rcRect/>
          <a:stretch/>
        </p:blipFill>
        <p:spPr>
          <a:xfrm>
            <a:off x="5725094" y="2210228"/>
            <a:ext cx="720000" cy="720000"/>
          </a:xfrm>
          <a:prstGeom prst="rect">
            <a:avLst/>
          </a:prstGeom>
        </p:spPr>
      </p:pic>
      <p:sp>
        <p:nvSpPr>
          <p:cNvPr id="51" name="Oval 50">
            <a:extLst>
              <a:ext uri="{FF2B5EF4-FFF2-40B4-BE49-F238E27FC236}">
                <a16:creationId xmlns:a16="http://schemas.microsoft.com/office/drawing/2014/main" xmlns="" id="{E343038D-968D-80C6-6F67-0FB1D5D44EB4}"/>
              </a:ext>
            </a:extLst>
          </p:cNvPr>
          <p:cNvSpPr/>
          <p:nvPr/>
        </p:nvSpPr>
        <p:spPr>
          <a:xfrm>
            <a:off x="548509" y="3324532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x-none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xmlns="" id="{EEA41BEB-2475-942C-8B3D-EA4149F4056E}"/>
              </a:ext>
            </a:extLst>
          </p:cNvPr>
          <p:cNvSpPr/>
          <p:nvPr/>
        </p:nvSpPr>
        <p:spPr>
          <a:xfrm>
            <a:off x="2408509" y="3324532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x-none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xmlns="" id="{B72EE53A-91B2-7EE6-06AB-6AADE384B5BF}"/>
              </a:ext>
            </a:extLst>
          </p:cNvPr>
          <p:cNvSpPr/>
          <p:nvPr/>
        </p:nvSpPr>
        <p:spPr>
          <a:xfrm>
            <a:off x="3942515" y="3338119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x-none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xmlns="" id="{502ED603-88E1-FFC6-128C-1F4EECEBD34F}"/>
              </a:ext>
            </a:extLst>
          </p:cNvPr>
          <p:cNvSpPr/>
          <p:nvPr/>
        </p:nvSpPr>
        <p:spPr>
          <a:xfrm>
            <a:off x="7787048" y="3325972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</a:t>
            </a:r>
            <a:endParaRPr lang="x-none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xmlns="" id="{59581EF8-78B1-62C7-A011-37B806E21E7D}"/>
              </a:ext>
            </a:extLst>
          </p:cNvPr>
          <p:cNvSpPr/>
          <p:nvPr/>
        </p:nvSpPr>
        <p:spPr>
          <a:xfrm>
            <a:off x="9395987" y="3310492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</a:t>
            </a:r>
            <a:endParaRPr lang="x-none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xmlns="" id="{2DF2888E-71E2-94CF-EB48-5CFE6FC829C2}"/>
              </a:ext>
            </a:extLst>
          </p:cNvPr>
          <p:cNvSpPr/>
          <p:nvPr/>
        </p:nvSpPr>
        <p:spPr>
          <a:xfrm>
            <a:off x="5907603" y="3318223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</a:t>
            </a:r>
            <a:endParaRPr lang="x-none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Oval 57">
            <a:extLst>
              <a:ext uri="{FF2B5EF4-FFF2-40B4-BE49-F238E27FC236}">
                <a16:creationId xmlns:a16="http://schemas.microsoft.com/office/drawing/2014/main" xmlns="" id="{DB6F8902-D50F-0092-8FD3-8976B2FDBFF8}"/>
              </a:ext>
            </a:extLst>
          </p:cNvPr>
          <p:cNvSpPr/>
          <p:nvPr/>
        </p:nvSpPr>
        <p:spPr>
          <a:xfrm>
            <a:off x="10752501" y="3318824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7</a:t>
            </a:r>
            <a:endParaRPr lang="x-none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07C600B-AF20-B862-0FC5-FD175284F9C0}"/>
              </a:ext>
            </a:extLst>
          </p:cNvPr>
          <p:cNvSpPr txBox="1"/>
          <p:nvPr/>
        </p:nvSpPr>
        <p:spPr>
          <a:xfrm>
            <a:off x="10208236" y="3775605"/>
            <a:ext cx="14435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ть отчет о нанесении </a:t>
            </a:r>
          </a:p>
        </p:txBody>
      </p:sp>
      <p:pic>
        <p:nvPicPr>
          <p:cNvPr id="11" name="Graphic 18">
            <a:extLst>
              <a:ext uri="{FF2B5EF4-FFF2-40B4-BE49-F238E27FC236}">
                <a16:creationId xmlns:a16="http://schemas.microsoft.com/office/drawing/2014/main" xmlns="" id="{B0EDDC17-9A58-E0E1-49CB-EBDF9B7A611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618592" y="2229707"/>
            <a:ext cx="622800" cy="720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4319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xmlns="" id="{D78DFB76-168E-9085-4807-2BAD8685E4FE}"/>
              </a:ext>
            </a:extLst>
          </p:cNvPr>
          <p:cNvCxnSpPr>
            <a:cxnSpLocks/>
            <a:stCxn id="51" idx="6"/>
          </p:cNvCxnSpPr>
          <p:nvPr/>
        </p:nvCxnSpPr>
        <p:spPr>
          <a:xfrm flipV="1">
            <a:off x="1134601" y="3699831"/>
            <a:ext cx="9838199" cy="1"/>
          </a:xfrm>
          <a:prstGeom prst="straightConnector1">
            <a:avLst/>
          </a:prstGeom>
          <a:ln w="25400">
            <a:solidFill>
              <a:srgbClr val="63666A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Скругленный прямоугольник 8">
            <a:extLst>
              <a:ext uri="{FF2B5EF4-FFF2-40B4-BE49-F238E27FC236}">
                <a16:creationId xmlns:a16="http://schemas.microsoft.com/office/drawing/2014/main" xmlns="" id="{AA6F8625-11AC-172B-EBE2-B9EADCC5CBCB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подготовиться с системным интегратором</a:t>
            </a:r>
            <a:endParaRPr lang="x-none" sz="20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ACCAA05D-966A-0A98-B01E-BF0BE72B35DC}"/>
              </a:ext>
            </a:extLst>
          </p:cNvPr>
          <p:cNvSpPr txBox="1"/>
          <p:nvPr/>
        </p:nvSpPr>
        <p:spPr>
          <a:xfrm>
            <a:off x="27109" y="4040256"/>
            <a:ext cx="186000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регистрироваться</a:t>
            </a:r>
          </a:p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системе </a:t>
            </a:r>
          </a:p>
          <a:p>
            <a:pPr algn="ctr"/>
            <a:endParaRPr lang="ru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регистрации наличие УКЭП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352CE0D0-2F92-ADC2-4D8F-9664B395FD36}"/>
              </a:ext>
            </a:extLst>
          </p:cNvPr>
          <p:cNvSpPr txBox="1"/>
          <p:nvPr/>
        </p:nvSpPr>
        <p:spPr>
          <a:xfrm>
            <a:off x="1887109" y="4040256"/>
            <a:ext cx="1860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писать договор</a:t>
            </a:r>
          </a:p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Оператором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3BC987A1-7E64-7C20-157D-0ED61BE20F4A}"/>
              </a:ext>
            </a:extLst>
          </p:cNvPr>
          <p:cNvSpPr txBox="1"/>
          <p:nvPr/>
        </p:nvSpPr>
        <p:spPr>
          <a:xfrm>
            <a:off x="3663030" y="4040256"/>
            <a:ext cx="1860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писать товар</a:t>
            </a:r>
          </a:p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КМТ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6F45DF0F-5355-B88F-F049-B1CE463723AD}"/>
              </a:ext>
            </a:extLst>
          </p:cNvPr>
          <p:cNvSpPr txBox="1"/>
          <p:nvPr/>
        </p:nvSpPr>
        <p:spPr>
          <a:xfrm>
            <a:off x="7729412" y="4048667"/>
            <a:ext cx="14435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казать</a:t>
            </a:r>
          </a:p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М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21DA2EA2-064A-33DC-1426-2AE7DFF39E8A}"/>
              </a:ext>
            </a:extLst>
          </p:cNvPr>
          <p:cNvSpPr txBox="1"/>
          <p:nvPr/>
        </p:nvSpPr>
        <p:spPr>
          <a:xfrm>
            <a:off x="9172924" y="4039840"/>
            <a:ext cx="14435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нести </a:t>
            </a:r>
          </a:p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М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93A8134C-FB1D-C0CB-66A5-E8A13E607546}"/>
              </a:ext>
            </a:extLst>
          </p:cNvPr>
          <p:cNvSpPr txBox="1"/>
          <p:nvPr/>
        </p:nvSpPr>
        <p:spPr>
          <a:xfrm>
            <a:off x="5310734" y="4040256"/>
            <a:ext cx="233055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брать системного интегратора и техническое решение 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внедрения маркировки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xmlns="" id="{EA9AF3D0-EF6A-1751-C675-305146C564C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45709" y="2413929"/>
            <a:ext cx="622800" cy="720833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xmlns="" id="{2E352E73-3DE5-9A60-49A0-5AF18FF4693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2421109" y="2482890"/>
            <a:ext cx="792000" cy="582911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xmlns="" id="{1E4869F9-EAB6-DD2F-1C3A-3DB3E186E54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/>
          <a:stretch/>
        </p:blipFill>
        <p:spPr>
          <a:xfrm>
            <a:off x="4267035" y="2451785"/>
            <a:ext cx="720000" cy="64512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xmlns="" id="{4888BC8E-5C54-58B9-1765-1184181C8BB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/>
          <a:stretch/>
        </p:blipFill>
        <p:spPr>
          <a:xfrm>
            <a:off x="8127168" y="2458756"/>
            <a:ext cx="648000" cy="64800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xmlns="" id="{CD1C614E-F93B-7B5E-905F-ADEAADE7FC1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rcRect/>
          <a:stretch/>
        </p:blipFill>
        <p:spPr>
          <a:xfrm>
            <a:off x="9498861" y="2389795"/>
            <a:ext cx="683519" cy="72000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xmlns="" id="{3DEBAE2B-8512-32FB-69A8-A7F6BD257B6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rcRect/>
          <a:stretch/>
        </p:blipFill>
        <p:spPr>
          <a:xfrm>
            <a:off x="6178942" y="2414345"/>
            <a:ext cx="720000" cy="720000"/>
          </a:xfrm>
          <a:prstGeom prst="rect">
            <a:avLst/>
          </a:prstGeom>
        </p:spPr>
      </p:pic>
      <p:sp>
        <p:nvSpPr>
          <p:cNvPr id="51" name="Oval 50">
            <a:extLst>
              <a:ext uri="{FF2B5EF4-FFF2-40B4-BE49-F238E27FC236}">
                <a16:creationId xmlns:a16="http://schemas.microsoft.com/office/drawing/2014/main" xmlns="" id="{E343038D-968D-80C6-6F67-0FB1D5D44EB4}"/>
              </a:ext>
            </a:extLst>
          </p:cNvPr>
          <p:cNvSpPr/>
          <p:nvPr/>
        </p:nvSpPr>
        <p:spPr>
          <a:xfrm>
            <a:off x="779618" y="3522340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x-none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xmlns="" id="{EEA41BEB-2475-942C-8B3D-EA4149F4056E}"/>
              </a:ext>
            </a:extLst>
          </p:cNvPr>
          <p:cNvSpPr/>
          <p:nvPr/>
        </p:nvSpPr>
        <p:spPr>
          <a:xfrm>
            <a:off x="2639618" y="3522340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x-none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xmlns="" id="{B72EE53A-91B2-7EE6-06AB-6AADE384B5BF}"/>
              </a:ext>
            </a:extLst>
          </p:cNvPr>
          <p:cNvSpPr/>
          <p:nvPr/>
        </p:nvSpPr>
        <p:spPr>
          <a:xfrm>
            <a:off x="4415539" y="3522340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x-none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xmlns="" id="{502ED603-88E1-FFC6-128C-1F4EECEBD34F}"/>
              </a:ext>
            </a:extLst>
          </p:cNvPr>
          <p:cNvSpPr/>
          <p:nvPr/>
        </p:nvSpPr>
        <p:spPr>
          <a:xfrm>
            <a:off x="6298518" y="3522340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</a:t>
            </a:r>
            <a:endParaRPr lang="x-none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xmlns="" id="{59581EF8-78B1-62C7-A011-37B806E21E7D}"/>
              </a:ext>
            </a:extLst>
          </p:cNvPr>
          <p:cNvSpPr/>
          <p:nvPr/>
        </p:nvSpPr>
        <p:spPr>
          <a:xfrm>
            <a:off x="8267546" y="3522340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</a:t>
            </a:r>
            <a:endParaRPr lang="x-none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xmlns="" id="{2DF2888E-71E2-94CF-EB48-5CFE6FC829C2}"/>
              </a:ext>
            </a:extLst>
          </p:cNvPr>
          <p:cNvSpPr/>
          <p:nvPr/>
        </p:nvSpPr>
        <p:spPr>
          <a:xfrm>
            <a:off x="9663128" y="3522340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</a:t>
            </a:r>
            <a:endParaRPr lang="x-none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Oval 58">
            <a:extLst>
              <a:ext uri="{FF2B5EF4-FFF2-40B4-BE49-F238E27FC236}">
                <a16:creationId xmlns:a16="http://schemas.microsoft.com/office/drawing/2014/main" xmlns="" id="{2B8C06AB-C9EE-C2A0-8151-E758885D501D}"/>
              </a:ext>
            </a:extLst>
          </p:cNvPr>
          <p:cNvSpPr/>
          <p:nvPr/>
        </p:nvSpPr>
        <p:spPr>
          <a:xfrm>
            <a:off x="10999355" y="3497248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7</a:t>
            </a:r>
            <a:endParaRPr lang="x-none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B4961BD-B861-9356-7A74-CEA6112FD6AB}"/>
              </a:ext>
            </a:extLst>
          </p:cNvPr>
          <p:cNvSpPr txBox="1"/>
          <p:nvPr/>
        </p:nvSpPr>
        <p:spPr>
          <a:xfrm>
            <a:off x="10455090" y="3980602"/>
            <a:ext cx="14435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ть отчет о нанесении</a:t>
            </a:r>
          </a:p>
        </p:txBody>
      </p:sp>
      <p:pic>
        <p:nvPicPr>
          <p:cNvPr id="10" name="Graphic 18">
            <a:extLst>
              <a:ext uri="{FF2B5EF4-FFF2-40B4-BE49-F238E27FC236}">
                <a16:creationId xmlns:a16="http://schemas.microsoft.com/office/drawing/2014/main" xmlns="" id="{97D469D6-D448-23E5-0F51-11541112CC2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865446" y="2401528"/>
            <a:ext cx="622800" cy="720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1441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>
            <a:extLst>
              <a:ext uri="{FF2B5EF4-FFF2-40B4-BE49-F238E27FC236}">
                <a16:creationId xmlns:a16="http://schemas.microsoft.com/office/drawing/2014/main" xmlns="" id="{6E87E161-2FD3-BF27-A1F1-F375673056C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0248" y="854289"/>
            <a:ext cx="5721752" cy="6003711"/>
          </a:xfrm>
          <a:prstGeom prst="rect">
            <a:avLst/>
          </a:prstGeom>
        </p:spPr>
      </p:pic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еры поддержки: Компенсация 50% на оборудование для маркировки</a:t>
            </a:r>
            <a:endParaRPr lang="en-US" sz="20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object 14">
            <a:extLst>
              <a:ext uri="{FF2B5EF4-FFF2-40B4-BE49-F238E27FC236}">
                <a16:creationId xmlns:a16="http://schemas.microsoft.com/office/drawing/2014/main" xmlns="" id="{9220960A-5F6A-FA15-19EC-C62649E9B361}"/>
              </a:ext>
            </a:extLst>
          </p:cNvPr>
          <p:cNvSpPr txBox="1"/>
          <p:nvPr/>
        </p:nvSpPr>
        <p:spPr>
          <a:xfrm>
            <a:off x="516000" y="1790099"/>
            <a:ext cx="5580000" cy="336758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85750" indent="-285750">
              <a:spcBef>
                <a:spcPts val="12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изводители до 300 тыс. дал/год</a:t>
            </a:r>
          </a:p>
          <a:p>
            <a:pPr marL="285750" indent="-285750">
              <a:spcBef>
                <a:spcPts val="12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ыть участником только одной программы от Оператора: рассрочка или скидка 50%</a:t>
            </a:r>
          </a:p>
          <a:p>
            <a:pPr marL="285750" indent="-285750">
              <a:spcBef>
                <a:spcPts val="12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оборудование для маркировки кег можно подать заявку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сле 15.02.2023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поставка оборудования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 рабочих дней 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о дня получения оплаты. До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1.05.2023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одача заявки на оборудование для маркировки бутылок.</a:t>
            </a:r>
          </a:p>
          <a:p>
            <a:pPr marL="285750" indent="-285750">
              <a:spcBef>
                <a:spcPts val="12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ператором разработан перечень типовых комплектов, которые включают разные виды оборудования в зависимости от типа линий</a:t>
            </a:r>
          </a:p>
          <a:p>
            <a:pPr marL="285750" indent="-285750">
              <a:spcBef>
                <a:spcPts val="12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 производственная линия = 1 комплект оборудования</a:t>
            </a:r>
          </a:p>
          <a:p>
            <a:pPr marL="285750" indent="-285750">
              <a:spcBef>
                <a:spcPts val="12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обходимо заполнить заявку на сайте </a:t>
            </a:r>
            <a:r>
              <a:rPr lang="ru-RU" sz="1400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естныйЗнак.рф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D94A9B8D-63DB-08B2-B685-50A42DF1250E}"/>
              </a:ext>
            </a:extLst>
          </p:cNvPr>
          <p:cNvSpPr txBox="1"/>
          <p:nvPr/>
        </p:nvSpPr>
        <p:spPr>
          <a:xfrm>
            <a:off x="516000" y="5560454"/>
            <a:ext cx="581552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сылка на заявку: </a:t>
            </a:r>
          </a:p>
          <a:p>
            <a:r>
              <a:rPr lang="en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честныйзнак.рф/</a:t>
            </a:r>
            <a:r>
              <a:rPr lang="en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business/projects/beer/discount/application/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xmlns="" id="{7C2F07B3-80F6-8541-A6BB-41D32776F972}"/>
              </a:ext>
            </a:extLst>
          </p:cNvPr>
          <p:cNvCxnSpPr>
            <a:cxnSpLocks/>
          </p:cNvCxnSpPr>
          <p:nvPr/>
        </p:nvCxnSpPr>
        <p:spPr>
          <a:xfrm>
            <a:off x="516000" y="5460956"/>
            <a:ext cx="5580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68978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xmlns="" id="{7B6A098B-889F-7546-E67C-862B92AB7924}"/>
              </a:ext>
            </a:extLst>
          </p:cNvPr>
          <p:cNvCxnSpPr>
            <a:cxnSpLocks/>
          </p:cNvCxnSpPr>
          <p:nvPr/>
        </p:nvCxnSpPr>
        <p:spPr>
          <a:xfrm>
            <a:off x="516000" y="2799573"/>
            <a:ext cx="11160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еры поддержки: Беспроцентная рассрочка на оборудование для маркировки</a:t>
            </a:r>
          </a:p>
        </p:txBody>
      </p:sp>
      <p:sp>
        <p:nvSpPr>
          <p:cNvPr id="5" name="Скругленный прямоугольник 8">
            <a:extLst>
              <a:ext uri="{FF2B5EF4-FFF2-40B4-BE49-F238E27FC236}">
                <a16:creationId xmlns:a16="http://schemas.microsoft.com/office/drawing/2014/main" xmlns="" id="{D809F72B-6F8C-EF1E-48A1-20D20D28719C}"/>
              </a:ext>
            </a:extLst>
          </p:cNvPr>
          <p:cNvSpPr/>
          <p:nvPr/>
        </p:nvSpPr>
        <p:spPr>
          <a:xfrm>
            <a:off x="6312000" y="3118018"/>
            <a:ext cx="5400000" cy="3362036"/>
          </a:xfrm>
          <a:prstGeom prst="roundRect">
            <a:avLst>
              <a:gd name="adj" fmla="val 4396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tIns="180000" rIns="180000" bIns="180000" rtlCol="0" anchor="t"/>
          <a:lstStyle/>
          <a:p>
            <a:pPr algn="just"/>
            <a:endParaRPr lang="en-US" sz="1400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just">
              <a:lnSpc>
                <a:spcPct val="115000"/>
              </a:lnSpc>
              <a:spcAft>
                <a:spcPts val="1000"/>
              </a:spcAft>
            </a:pPr>
            <a:endParaRPr lang="ru-RU" sz="1400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вершен прием заявок на рассрочку на оборудование для маркировки кег, </a:t>
            </a:r>
            <a:r>
              <a:rPr lang="ru-RU" sz="1400" dirty="0" err="1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эт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стекло</a:t>
            </a:r>
          </a:p>
          <a:p>
            <a:pPr algn="just">
              <a:lnSpc>
                <a:spcPct val="115000"/>
              </a:lnSpc>
              <a:spcBef>
                <a:spcPts val="1000"/>
              </a:spcBef>
              <a:spcAft>
                <a:spcPts val="1000"/>
              </a:spcAft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 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5.04.2023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одача заявки на рассрочку оборудования для маркировки алюминиевых банок</a:t>
            </a:r>
          </a:p>
        </p:txBody>
      </p:sp>
      <p:sp>
        <p:nvSpPr>
          <p:cNvPr id="6" name="Скругленный прямоугольник 8">
            <a:extLst>
              <a:ext uri="{FF2B5EF4-FFF2-40B4-BE49-F238E27FC236}">
                <a16:creationId xmlns:a16="http://schemas.microsoft.com/office/drawing/2014/main" xmlns="" id="{ABCA0771-8812-9C94-B242-9D95E702B627}"/>
              </a:ext>
            </a:extLst>
          </p:cNvPr>
          <p:cNvSpPr/>
          <p:nvPr/>
        </p:nvSpPr>
        <p:spPr>
          <a:xfrm>
            <a:off x="515999" y="3118018"/>
            <a:ext cx="4679456" cy="3362036"/>
          </a:xfrm>
          <a:prstGeom prst="roundRect">
            <a:avLst>
              <a:gd name="adj" fmla="val 4396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ТО НУЖНО?</a:t>
            </a: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1000"/>
              </a:spcBef>
              <a:buBlip>
                <a:blip r:embed="rId2"/>
              </a:buBlip>
            </a:pPr>
            <a:endParaRPr lang="ru-RU" sz="14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10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брать интегратора </a:t>
            </a:r>
          </a:p>
          <a:p>
            <a:pPr marL="285750" indent="-285750">
              <a:spcBef>
                <a:spcPts val="10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пределить техническое решение</a:t>
            </a:r>
          </a:p>
          <a:p>
            <a:pPr marL="285750" indent="-285750">
              <a:spcBef>
                <a:spcPts val="10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ть заявку на оборудование в рассрочку</a:t>
            </a:r>
          </a:p>
          <a:p>
            <a:pPr marL="285750" indent="-285750">
              <a:spcBef>
                <a:spcPts val="10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регистрироваться в Честном </a:t>
            </a:r>
            <a:r>
              <a:rPr lang="ru-RU" sz="14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НАКе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b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Личный Кабинет)</a:t>
            </a:r>
          </a:p>
          <a:p>
            <a:pPr marL="285750" indent="-285750">
              <a:spcBef>
                <a:spcPts val="10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ключить ЭДО</a:t>
            </a:r>
            <a:endParaRPr lang="ru-RU" sz="14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464A66B3-028E-00E6-002A-BAAC9AFC76D7}"/>
              </a:ext>
            </a:extLst>
          </p:cNvPr>
          <p:cNvCxnSpPr>
            <a:cxnSpLocks/>
          </p:cNvCxnSpPr>
          <p:nvPr/>
        </p:nvCxnSpPr>
        <p:spPr>
          <a:xfrm flipH="1">
            <a:off x="762001" y="3753350"/>
            <a:ext cx="4073235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A490F405-C727-D067-A3D1-02720FB576FD}"/>
              </a:ext>
            </a:extLst>
          </p:cNvPr>
          <p:cNvSpPr txBox="1"/>
          <p:nvPr/>
        </p:nvSpPr>
        <p:spPr>
          <a:xfrm>
            <a:off x="515999" y="1337412"/>
            <a:ext cx="11159999" cy="9951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10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еспроцентная рассрочка на 3 года. Первый год оплата не требуется, далее оплата равными частями;</a:t>
            </a:r>
          </a:p>
          <a:p>
            <a:pPr marL="285750" indent="-285750" algn="just">
              <a:spcBef>
                <a:spcPts val="10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казать можно только типовые модели оборудования и «периферийное» (автоматизация, отбраковка) оборудование</a:t>
            </a:r>
          </a:p>
          <a:p>
            <a:pPr marL="285750" indent="-285750" algn="just">
              <a:spcBef>
                <a:spcPts val="10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недрение маркировки системными интеграторами из списка (17 технологических партнеров).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xmlns="" id="{040D6D0A-4929-B75B-7E6E-932E2AFCC84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6242903" y="3897426"/>
            <a:ext cx="621722" cy="621722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xmlns="" id="{F768DE73-28DE-7BF2-C993-D030BC3B3F9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6708986" y="3863655"/>
            <a:ext cx="621722" cy="621722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xmlns="" id="{6CA8D5C3-FE15-463E-E08A-9FE1151107A9}"/>
              </a:ext>
            </a:extLst>
          </p:cNvPr>
          <p:cNvGrpSpPr/>
          <p:nvPr/>
        </p:nvGrpSpPr>
        <p:grpSpPr>
          <a:xfrm>
            <a:off x="5482263" y="4436950"/>
            <a:ext cx="490653" cy="724172"/>
            <a:chOff x="2994556" y="1985670"/>
            <a:chExt cx="490653" cy="724172"/>
          </a:xfrm>
        </p:grpSpPr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xmlns="" id="{8EA3CEAF-38D3-DC18-4310-E4E2EF10079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3193609" y="1985670"/>
              <a:ext cx="291600" cy="724172"/>
            </a:xfrm>
            <a:prstGeom prst="rect">
              <a:avLst/>
            </a:prstGeom>
          </p:spPr>
        </p:pic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xmlns="" id="{5B55BEA7-95D7-2672-3F1E-DF982A68572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2994556" y="1985670"/>
              <a:ext cx="291600" cy="724172"/>
            </a:xfrm>
            <a:prstGeom prst="rect">
              <a:avLst/>
            </a:prstGeom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030ECF40-E19A-DD99-D537-B084369C3796}"/>
              </a:ext>
            </a:extLst>
          </p:cNvPr>
          <p:cNvSpPr txBox="1"/>
          <p:nvPr/>
        </p:nvSpPr>
        <p:spPr>
          <a:xfrm>
            <a:off x="4835236" y="2579195"/>
            <a:ext cx="2521528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ача заявки</a:t>
            </a:r>
          </a:p>
        </p:txBody>
      </p:sp>
      <p:pic>
        <p:nvPicPr>
          <p:cNvPr id="2" name="Рисунок 5">
            <a:extLst>
              <a:ext uri="{FF2B5EF4-FFF2-40B4-BE49-F238E27FC236}">
                <a16:creationId xmlns:a16="http://schemas.microsoft.com/office/drawing/2014/main" xmlns="" id="{622D16E8-4E28-CD19-876E-CF0793DF497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rcRect/>
          <a:stretch/>
        </p:blipFill>
        <p:spPr>
          <a:xfrm>
            <a:off x="6497355" y="5212715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1541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ottle of alcohol&#10;&#10;Description automatically generated with medium confidence">
            <a:extLst>
              <a:ext uri="{FF2B5EF4-FFF2-40B4-BE49-F238E27FC236}">
                <a16:creationId xmlns:a16="http://schemas.microsoft.com/office/drawing/2014/main" xmlns="" id="{428D9EEA-49C6-2164-9664-97CE7F9363E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35781" y="844391"/>
            <a:ext cx="6456219" cy="6013609"/>
          </a:xfrm>
          <a:prstGeom prst="rect">
            <a:avLst/>
          </a:prstGeom>
        </p:spPr>
      </p:pic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комендации по выбору технологического партнера и технологического решения</a:t>
            </a:r>
          </a:p>
        </p:txBody>
      </p:sp>
      <p:sp>
        <p:nvSpPr>
          <p:cNvPr id="2" name="object 10">
            <a:extLst>
              <a:ext uri="{FF2B5EF4-FFF2-40B4-BE49-F238E27FC236}">
                <a16:creationId xmlns:a16="http://schemas.microsoft.com/office/drawing/2014/main" xmlns="" id="{8D11298D-A1F6-5255-0350-11487D528F24}"/>
              </a:ext>
            </a:extLst>
          </p:cNvPr>
          <p:cNvSpPr txBox="1"/>
          <p:nvPr/>
        </p:nvSpPr>
        <p:spPr>
          <a:xfrm>
            <a:off x="516000" y="1483239"/>
            <a:ext cx="6217309" cy="473591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285750" lvl="0" indent="-285750" defTabSz="1193566" hangingPunct="0">
              <a:spcBef>
                <a:spcPts val="600"/>
              </a:spcBef>
              <a:buBlip>
                <a:blip r:embed="rId3"/>
              </a:buBlip>
              <a:defRPr/>
            </a:pP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еречень технологических партнеров: </a:t>
            </a:r>
            <a:r>
              <a:rPr lang="en-US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</a:t>
            </a: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честныйзнак.рф/</a:t>
            </a:r>
            <a:r>
              <a:rPr lang="en-US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business/projects/beer/partners/manufacturer/</a:t>
            </a:r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defTabSz="1193566" hangingPunct="0">
              <a:spcBef>
                <a:spcPts val="600"/>
              </a:spcBef>
              <a:defRPr/>
            </a:pP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</a:t>
            </a:r>
          </a:p>
          <a:p>
            <a:pPr marL="342900" lvl="0" indent="-342900" defTabSz="1193566" hangingPunct="0">
              <a:spcBef>
                <a:spcPts val="600"/>
              </a:spcBef>
              <a:buBlip>
                <a:blip r:embed="rId3"/>
              </a:buBlip>
              <a:defRPr/>
            </a:pP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одбор расходных материалов, перечень поставщиков. Результаты тестирования </a:t>
            </a:r>
            <a:r>
              <a:rPr lang="ru-RU" sz="1600" dirty="0" err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иббонов</a:t>
            </a: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в сочетании с различными типами этикеток:</a:t>
            </a:r>
          </a:p>
          <a:p>
            <a:pPr lvl="0" defTabSz="1193566" hangingPunct="0">
              <a:spcBef>
                <a:spcPts val="600"/>
              </a:spcBef>
              <a:defRPr/>
            </a:pP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     </a:t>
            </a:r>
            <a:r>
              <a:rPr lang="en-US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</a:t>
            </a:r>
            <a:r>
              <a:rPr lang="ru-RU" sz="1600" dirty="0" err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честныйзнак.рф</a:t>
            </a: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/</a:t>
            </a:r>
            <a:r>
              <a:rPr lang="en-US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business/projects/beer/materials/labels/</a:t>
            </a:r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spcBef>
                <a:spcPts val="600"/>
              </a:spcBef>
              <a:defRPr/>
            </a:pPr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 defTabSz="1193566" hangingPunct="0">
              <a:spcBef>
                <a:spcPts val="600"/>
              </a:spcBef>
              <a:buBlip>
                <a:blip r:embed="rId3"/>
              </a:buBlip>
              <a:defRPr/>
            </a:pP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ешения для малых производителей: </a:t>
            </a:r>
            <a:r>
              <a:rPr lang="en-US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</a:t>
            </a:r>
            <a:r>
              <a:rPr lang="ru-RU" sz="1600" dirty="0" err="1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честныйзнак.рф</a:t>
            </a: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/</a:t>
            </a:r>
            <a:r>
              <a:rPr lang="en-US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business/projects/beer/</a:t>
            </a:r>
            <a:r>
              <a:rPr lang="en-US" sz="1600" dirty="0" err="1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box_solutions</a:t>
            </a:r>
            <a:r>
              <a:rPr lang="en-US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/</a:t>
            </a:r>
            <a:r>
              <a:rPr lang="en-US" sz="1600" dirty="0" err="1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solutions_manufacturers</a:t>
            </a:r>
            <a:r>
              <a:rPr lang="en-US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/</a:t>
            </a:r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 defTabSz="1193566" hangingPunct="0">
              <a:spcBef>
                <a:spcPts val="600"/>
              </a:spcBef>
              <a:buBlip>
                <a:blip r:embed="rId3"/>
              </a:buBlip>
              <a:defRPr/>
            </a:pPr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 defTabSz="1193566" hangingPunct="0">
              <a:spcBef>
                <a:spcPts val="600"/>
              </a:spcBef>
              <a:buBlip>
                <a:blip r:embed="rId3"/>
              </a:buBlip>
              <a:defRPr/>
            </a:pP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ечень расходных материалов и запчастей к оборудованию для нанесения на складе «Честный знак»: </a:t>
            </a:r>
            <a:r>
              <a:rPr lang="en-US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</a:t>
            </a: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честныйзнак.рф/</a:t>
            </a:r>
            <a:r>
              <a:rPr lang="en-US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business/projects/dairy/materials/stock_list/</a:t>
            </a:r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67829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ottle, indoor, counter, alcohol&#10;&#10;Description automatically generated">
            <a:extLst>
              <a:ext uri="{FF2B5EF4-FFF2-40B4-BE49-F238E27FC236}">
                <a16:creationId xmlns:a16="http://schemas.microsoft.com/office/drawing/2014/main" xmlns="" id="{6AAF634C-FC76-1FCB-1DD3-364FEFB786F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31C4D91-3018-8449-6333-857B0707B8E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3666A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3465689" y="2844800"/>
            <a:ext cx="5260622" cy="11684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то такое «Маркировка»?</a:t>
            </a:r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51482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ottle, indoor, counter, alcohol&#10;&#10;Description automatically generated">
            <a:extLst>
              <a:ext uri="{FF2B5EF4-FFF2-40B4-BE49-F238E27FC236}">
                <a16:creationId xmlns:a16="http://schemas.microsoft.com/office/drawing/2014/main" xmlns="" id="{6AAF634C-FC76-1FCB-1DD3-364FEFB786F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31C4D91-3018-8449-6333-857B0707B8E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3666A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3129566" y="2844800"/>
            <a:ext cx="5932868" cy="11684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бота с кегами в рознице</a:t>
            </a:r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84148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8">
            <a:extLst>
              <a:ext uri="{FF2B5EF4-FFF2-40B4-BE49-F238E27FC236}">
                <a16:creationId xmlns:a16="http://schemas.microsoft.com/office/drawing/2014/main" xmlns="" id="{DE0CA844-2B49-ED51-C457-B70895EC6013}"/>
              </a:ext>
            </a:extLst>
          </p:cNvPr>
          <p:cNvSpPr/>
          <p:nvPr/>
        </p:nvSpPr>
        <p:spPr>
          <a:xfrm>
            <a:off x="8107817" y="1896802"/>
            <a:ext cx="3504529" cy="4802154"/>
          </a:xfrm>
          <a:prstGeom prst="roundRect">
            <a:avLst>
              <a:gd name="adj" fmla="val 1703"/>
            </a:avLst>
          </a:prstGeom>
          <a:solidFill>
            <a:srgbClr val="FAFAFA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Скругленный прямоугольник 8">
            <a:extLst>
              <a:ext uri="{FF2B5EF4-FFF2-40B4-BE49-F238E27FC236}">
                <a16:creationId xmlns:a16="http://schemas.microsoft.com/office/drawing/2014/main" xmlns="" id="{842336D6-1DF0-3A01-D334-62F892C1E065}"/>
              </a:ext>
            </a:extLst>
          </p:cNvPr>
          <p:cNvSpPr/>
          <p:nvPr/>
        </p:nvSpPr>
        <p:spPr>
          <a:xfrm>
            <a:off x="5809051" y="1896802"/>
            <a:ext cx="2144277" cy="4802154"/>
          </a:xfrm>
          <a:prstGeom prst="roundRect">
            <a:avLst>
              <a:gd name="adj" fmla="val 1703"/>
            </a:avLst>
          </a:prstGeom>
          <a:solidFill>
            <a:srgbClr val="FAFAFA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Скругленный прямоугольник 8">
            <a:extLst>
              <a:ext uri="{FF2B5EF4-FFF2-40B4-BE49-F238E27FC236}">
                <a16:creationId xmlns:a16="http://schemas.microsoft.com/office/drawing/2014/main" xmlns="" id="{7EEC2E3A-7DB1-3DB0-B9C0-FAA1899FBA75}"/>
              </a:ext>
            </a:extLst>
          </p:cNvPr>
          <p:cNvSpPr/>
          <p:nvPr/>
        </p:nvSpPr>
        <p:spPr>
          <a:xfrm>
            <a:off x="3438862" y="1896802"/>
            <a:ext cx="2229850" cy="4802154"/>
          </a:xfrm>
          <a:prstGeom prst="roundRect">
            <a:avLst>
              <a:gd name="adj" fmla="val 1703"/>
            </a:avLst>
          </a:prstGeom>
          <a:solidFill>
            <a:srgbClr val="FAFAFA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Скругленный прямоугольник 8">
            <a:extLst>
              <a:ext uri="{FF2B5EF4-FFF2-40B4-BE49-F238E27FC236}">
                <a16:creationId xmlns:a16="http://schemas.microsoft.com/office/drawing/2014/main" xmlns="" id="{771F68AB-0B64-A465-38EA-B5C2092B38CD}"/>
              </a:ext>
            </a:extLst>
          </p:cNvPr>
          <p:cNvSpPr/>
          <p:nvPr/>
        </p:nvSpPr>
        <p:spPr>
          <a:xfrm>
            <a:off x="573476" y="1896802"/>
            <a:ext cx="2575032" cy="4824503"/>
          </a:xfrm>
          <a:prstGeom prst="roundRect">
            <a:avLst>
              <a:gd name="adj" fmla="val 1703"/>
            </a:avLst>
          </a:prstGeom>
          <a:solidFill>
            <a:srgbClr val="FAFAFA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516000" y="228024"/>
            <a:ext cx="1116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рожная карта для розницы</a:t>
            </a:r>
            <a:endParaRPr lang="en-US" sz="2000" b="1" dirty="0">
              <a:solidFill>
                <a:srgbClr val="6D6E71"/>
              </a:solidFill>
              <a:highlight>
                <a:srgbClr val="FF0000"/>
              </a:highlight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Rounded Rectangle 53">
            <a:extLst>
              <a:ext uri="{FF2B5EF4-FFF2-40B4-BE49-F238E27FC236}">
                <a16:creationId xmlns:a16="http://schemas.microsoft.com/office/drawing/2014/main" xmlns="" id="{89AFDA99-ED7E-C44A-CEB4-66F3321B6394}"/>
              </a:ext>
            </a:extLst>
          </p:cNvPr>
          <p:cNvSpPr/>
          <p:nvPr/>
        </p:nvSpPr>
        <p:spPr>
          <a:xfrm>
            <a:off x="697260" y="2039056"/>
            <a:ext cx="2338649" cy="607034"/>
          </a:xfrm>
          <a:prstGeom prst="roundRect">
            <a:avLst>
              <a:gd name="adj" fmla="val 7708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верка </a:t>
            </a:r>
            <a:r>
              <a:rPr lang="ru-RU" sz="1200" b="1" dirty="0">
                <a:solidFill>
                  <a:srgbClr val="63666B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маркировки при приемке продукции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Rounded Rectangle 53">
            <a:extLst>
              <a:ext uri="{FF2B5EF4-FFF2-40B4-BE49-F238E27FC236}">
                <a16:creationId xmlns:a16="http://schemas.microsoft.com/office/drawing/2014/main" xmlns="" id="{B8AF60D2-27B9-C727-0CC5-BC85C0CF4D1F}"/>
              </a:ext>
            </a:extLst>
          </p:cNvPr>
          <p:cNvSpPr/>
          <p:nvPr/>
        </p:nvSpPr>
        <p:spPr>
          <a:xfrm>
            <a:off x="1068214" y="3399751"/>
            <a:ext cx="1993095" cy="347570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читываемость 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Rounded Rectangle 53">
            <a:extLst>
              <a:ext uri="{FF2B5EF4-FFF2-40B4-BE49-F238E27FC236}">
                <a16:creationId xmlns:a16="http://schemas.microsoft.com/office/drawing/2014/main" xmlns="" id="{90FED805-9783-8C7B-6DDF-31CC7421F55F}"/>
              </a:ext>
            </a:extLst>
          </p:cNvPr>
          <p:cNvSpPr/>
          <p:nvPr/>
        </p:nvSpPr>
        <p:spPr>
          <a:xfrm>
            <a:off x="8221833" y="2039055"/>
            <a:ext cx="3248530" cy="432460"/>
          </a:xfrm>
          <a:prstGeom prst="roundRect">
            <a:avLst>
              <a:gd name="adj" fmla="val 7708"/>
            </a:avLst>
          </a:prstGeom>
          <a:solidFill>
            <a:srgbClr val="F7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арт продажи пива из кегов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ounded Rectangle 53">
            <a:extLst>
              <a:ext uri="{FF2B5EF4-FFF2-40B4-BE49-F238E27FC236}">
                <a16:creationId xmlns:a16="http://schemas.microsoft.com/office/drawing/2014/main" xmlns="" id="{755C0B29-3CDE-7A09-5B74-8E1306DE4174}"/>
              </a:ext>
            </a:extLst>
          </p:cNvPr>
          <p:cNvSpPr/>
          <p:nvPr/>
        </p:nvSpPr>
        <p:spPr>
          <a:xfrm>
            <a:off x="1068214" y="2874637"/>
            <a:ext cx="1993095" cy="363899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личие средства идентификации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xmlns="" id="{6CB92AEB-CB44-8914-0F7D-81413470C31E}"/>
              </a:ext>
            </a:extLst>
          </p:cNvPr>
          <p:cNvSpPr/>
          <p:nvPr/>
        </p:nvSpPr>
        <p:spPr>
          <a:xfrm>
            <a:off x="677069" y="6074402"/>
            <a:ext cx="7152156" cy="417498"/>
          </a:xfrm>
          <a:prstGeom prst="roundRect">
            <a:avLst>
              <a:gd name="adj" fmla="val 7708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истрация участника оборота в личном кабинете Честного Знака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8" name="Rounded Rectangle 53">
            <a:extLst>
              <a:ext uri="{FF2B5EF4-FFF2-40B4-BE49-F238E27FC236}">
                <a16:creationId xmlns:a16="http://schemas.microsoft.com/office/drawing/2014/main" xmlns="" id="{75EA230A-3893-3DC3-0A56-5E8B96F1C38C}"/>
              </a:ext>
            </a:extLst>
          </p:cNvPr>
          <p:cNvSpPr/>
          <p:nvPr/>
        </p:nvSpPr>
        <p:spPr>
          <a:xfrm>
            <a:off x="3507850" y="2039056"/>
            <a:ext cx="2035214" cy="653274"/>
          </a:xfrm>
          <a:prstGeom prst="roundRect">
            <a:avLst>
              <a:gd name="adj" fmla="val 7708"/>
            </a:avLst>
          </a:prstGeom>
          <a:solidFill>
            <a:srgbClr val="F6F6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новить ПО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Graphic 36">
            <a:extLst>
              <a:ext uri="{FF2B5EF4-FFF2-40B4-BE49-F238E27FC236}">
                <a16:creationId xmlns:a16="http://schemas.microsoft.com/office/drawing/2014/main" xmlns="" id="{E3103A75-FCDF-AD03-A7D8-D29540AB20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8753664" y="3257768"/>
            <a:ext cx="2212833" cy="2305037"/>
          </a:xfrm>
          <a:prstGeom prst="rect">
            <a:avLst/>
          </a:prstGeom>
        </p:spPr>
      </p:pic>
      <p:sp>
        <p:nvSpPr>
          <p:cNvPr id="9" name="Rounded Rectangle 53">
            <a:extLst>
              <a:ext uri="{FF2B5EF4-FFF2-40B4-BE49-F238E27FC236}">
                <a16:creationId xmlns:a16="http://schemas.microsoft.com/office/drawing/2014/main" xmlns="" id="{F975E5A6-52B4-9B01-2D64-AA5CB33D0F1F}"/>
              </a:ext>
            </a:extLst>
          </p:cNvPr>
          <p:cNvSpPr/>
          <p:nvPr/>
        </p:nvSpPr>
        <p:spPr>
          <a:xfrm>
            <a:off x="1059180" y="3908536"/>
            <a:ext cx="1993095" cy="382735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татус кода маркировки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9" name="Соединительная линия уступом 18">
            <a:extLst>
              <a:ext uri="{FF2B5EF4-FFF2-40B4-BE49-F238E27FC236}">
                <a16:creationId xmlns:a16="http://schemas.microsoft.com/office/drawing/2014/main" xmlns="" id="{0597B60C-6DF4-7D29-6D96-A2C1A7D6EC69}"/>
              </a:ext>
            </a:extLst>
          </p:cNvPr>
          <p:cNvCxnSpPr>
            <a:cxnSpLocks/>
          </p:cNvCxnSpPr>
          <p:nvPr/>
        </p:nvCxnSpPr>
        <p:spPr>
          <a:xfrm rot="5400000">
            <a:off x="107787" y="3422630"/>
            <a:ext cx="1469162" cy="12700"/>
          </a:xfrm>
          <a:prstGeom prst="bentConnector3">
            <a:avLst>
              <a:gd name="adj1" fmla="val 50000"/>
            </a:avLst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xmlns="" id="{8348F31A-8A19-3217-7F43-DE981FF3726A}"/>
              </a:ext>
            </a:extLst>
          </p:cNvPr>
          <p:cNvCxnSpPr>
            <a:cxnSpLocks/>
          </p:cNvCxnSpPr>
          <p:nvPr/>
        </p:nvCxnSpPr>
        <p:spPr>
          <a:xfrm flipH="1">
            <a:off x="842367" y="3064941"/>
            <a:ext cx="451695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xmlns="" id="{E264771A-F199-5F6C-F6A4-2B16BCF36B1D}"/>
              </a:ext>
            </a:extLst>
          </p:cNvPr>
          <p:cNvCxnSpPr>
            <a:cxnSpLocks/>
          </p:cNvCxnSpPr>
          <p:nvPr/>
        </p:nvCxnSpPr>
        <p:spPr>
          <a:xfrm flipH="1">
            <a:off x="842367" y="3597221"/>
            <a:ext cx="451695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xmlns="" id="{6A5F15FC-95CE-0CED-6E0E-9F29C028EC3B}"/>
              </a:ext>
            </a:extLst>
          </p:cNvPr>
          <p:cNvCxnSpPr>
            <a:cxnSpLocks/>
          </p:cNvCxnSpPr>
          <p:nvPr/>
        </p:nvCxnSpPr>
        <p:spPr>
          <a:xfrm flipH="1">
            <a:off x="842367" y="4132863"/>
            <a:ext cx="451695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7">
            <a:extLst>
              <a:ext uri="{FF2B5EF4-FFF2-40B4-BE49-F238E27FC236}">
                <a16:creationId xmlns:a16="http://schemas.microsoft.com/office/drawing/2014/main" xmlns="" id="{0D4112F3-CE1D-3170-49EE-DC96D62051D2}"/>
              </a:ext>
            </a:extLst>
          </p:cNvPr>
          <p:cNvCxnSpPr>
            <a:cxnSpLocks/>
          </p:cNvCxnSpPr>
          <p:nvPr/>
        </p:nvCxnSpPr>
        <p:spPr>
          <a:xfrm>
            <a:off x="573475" y="1402053"/>
            <a:ext cx="11038871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2">
            <a:extLst>
              <a:ext uri="{FF2B5EF4-FFF2-40B4-BE49-F238E27FC236}">
                <a16:creationId xmlns:a16="http://schemas.microsoft.com/office/drawing/2014/main" xmlns="" id="{A9EFE536-3368-E149-1E02-862A11A4D8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150697" y="1265793"/>
            <a:ext cx="288000" cy="28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7" name="Rounded Rectangle 53">
            <a:extLst>
              <a:ext uri="{FF2B5EF4-FFF2-40B4-BE49-F238E27FC236}">
                <a16:creationId xmlns:a16="http://schemas.microsoft.com/office/drawing/2014/main" xmlns="" id="{CF82ECEC-8171-6822-F363-FEFD73AE182D}"/>
              </a:ext>
            </a:extLst>
          </p:cNvPr>
          <p:cNvSpPr/>
          <p:nvPr/>
        </p:nvSpPr>
        <p:spPr>
          <a:xfrm>
            <a:off x="3882780" y="2875185"/>
            <a:ext cx="1660283" cy="417487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оваро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-учетную систему 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50" name="Соединительная линия уступом 49">
            <a:extLst>
              <a:ext uri="{FF2B5EF4-FFF2-40B4-BE49-F238E27FC236}">
                <a16:creationId xmlns:a16="http://schemas.microsoft.com/office/drawing/2014/main" xmlns="" id="{B4FCD55A-855B-4F1F-091B-D159FB0412FE}"/>
              </a:ext>
            </a:extLst>
          </p:cNvPr>
          <p:cNvCxnSpPr>
            <a:cxnSpLocks/>
          </p:cNvCxnSpPr>
          <p:nvPr/>
        </p:nvCxnSpPr>
        <p:spPr>
          <a:xfrm rot="16200000" flipH="1">
            <a:off x="2865781" y="3431502"/>
            <a:ext cx="1495143" cy="9424"/>
          </a:xfrm>
          <a:prstGeom prst="bentConnector3">
            <a:avLst>
              <a:gd name="adj1" fmla="val 50000"/>
            </a:avLst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>
            <a:extLst>
              <a:ext uri="{FF2B5EF4-FFF2-40B4-BE49-F238E27FC236}">
                <a16:creationId xmlns:a16="http://schemas.microsoft.com/office/drawing/2014/main" xmlns="" id="{DFB997D3-57FC-7398-62DA-3D4B217C1BF1}"/>
              </a:ext>
            </a:extLst>
          </p:cNvPr>
          <p:cNvCxnSpPr>
            <a:cxnSpLocks/>
          </p:cNvCxnSpPr>
          <p:nvPr/>
        </p:nvCxnSpPr>
        <p:spPr>
          <a:xfrm flipH="1">
            <a:off x="3609969" y="3065536"/>
            <a:ext cx="272812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ounded Rectangle 53">
            <a:extLst>
              <a:ext uri="{FF2B5EF4-FFF2-40B4-BE49-F238E27FC236}">
                <a16:creationId xmlns:a16="http://schemas.microsoft.com/office/drawing/2014/main" xmlns="" id="{43642825-8CC5-567A-5F5D-51EF20742B8E}"/>
              </a:ext>
            </a:extLst>
          </p:cNvPr>
          <p:cNvSpPr/>
          <p:nvPr/>
        </p:nvSpPr>
        <p:spPr>
          <a:xfrm>
            <a:off x="5959066" y="2018713"/>
            <a:ext cx="1870159" cy="687350"/>
          </a:xfrm>
          <a:prstGeom prst="roundRect">
            <a:avLst>
              <a:gd name="adj" fmla="val 7708"/>
            </a:avLst>
          </a:prstGeom>
          <a:solidFill>
            <a:srgbClr val="F6F6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недрить процессы маркировки в текущие БП</a:t>
            </a:r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Rounded Rectangle 53">
            <a:extLst>
              <a:ext uri="{FF2B5EF4-FFF2-40B4-BE49-F238E27FC236}">
                <a16:creationId xmlns:a16="http://schemas.microsoft.com/office/drawing/2014/main" xmlns="" id="{2395EF98-FBE7-C5E0-874F-B5FC51D17556}"/>
              </a:ext>
            </a:extLst>
          </p:cNvPr>
          <p:cNvSpPr/>
          <p:nvPr/>
        </p:nvSpPr>
        <p:spPr>
          <a:xfrm>
            <a:off x="6302291" y="2888919"/>
            <a:ext cx="1508209" cy="375244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готовить инструкции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1" name="Соединительная линия уступом 60">
            <a:extLst>
              <a:ext uri="{FF2B5EF4-FFF2-40B4-BE49-F238E27FC236}">
                <a16:creationId xmlns:a16="http://schemas.microsoft.com/office/drawing/2014/main" xmlns="" id="{B5C85FE4-FFAC-B112-F914-221490474485}"/>
              </a:ext>
            </a:extLst>
          </p:cNvPr>
          <p:cNvCxnSpPr>
            <a:cxnSpLocks/>
          </p:cNvCxnSpPr>
          <p:nvPr/>
        </p:nvCxnSpPr>
        <p:spPr>
          <a:xfrm rot="16200000" flipH="1">
            <a:off x="5578196" y="3152328"/>
            <a:ext cx="901239" cy="1330"/>
          </a:xfrm>
          <a:prstGeom prst="bentConnector3">
            <a:avLst>
              <a:gd name="adj1" fmla="val 50000"/>
            </a:avLst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xmlns="" id="{F447CEF8-2ABF-7AB4-0564-023BD18CF475}"/>
              </a:ext>
            </a:extLst>
          </p:cNvPr>
          <p:cNvCxnSpPr>
            <a:cxnSpLocks/>
          </p:cNvCxnSpPr>
          <p:nvPr/>
        </p:nvCxnSpPr>
        <p:spPr>
          <a:xfrm flipH="1">
            <a:off x="6029480" y="3079269"/>
            <a:ext cx="272812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ounded Rectangle 53">
            <a:extLst>
              <a:ext uri="{FF2B5EF4-FFF2-40B4-BE49-F238E27FC236}">
                <a16:creationId xmlns:a16="http://schemas.microsoft.com/office/drawing/2014/main" xmlns="" id="{F59F6114-42C3-B21D-D4CB-A345D354DF44}"/>
              </a:ext>
            </a:extLst>
          </p:cNvPr>
          <p:cNvSpPr/>
          <p:nvPr/>
        </p:nvSpPr>
        <p:spPr>
          <a:xfrm>
            <a:off x="6302291" y="3413263"/>
            <a:ext cx="1508209" cy="375244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учить персонал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xmlns="" id="{A5C575F2-48AD-4CEC-6991-54AF43C74074}"/>
              </a:ext>
            </a:extLst>
          </p:cNvPr>
          <p:cNvCxnSpPr>
            <a:cxnSpLocks/>
          </p:cNvCxnSpPr>
          <p:nvPr/>
        </p:nvCxnSpPr>
        <p:spPr>
          <a:xfrm flipH="1">
            <a:off x="6029480" y="3603613"/>
            <a:ext cx="272812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3" name="Picture 2">
            <a:extLst>
              <a:ext uri="{FF2B5EF4-FFF2-40B4-BE49-F238E27FC236}">
                <a16:creationId xmlns:a16="http://schemas.microsoft.com/office/drawing/2014/main" xmlns="" id="{4ADACBAA-024F-7CD4-4135-276A3D8E34B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410280" y="1275537"/>
            <a:ext cx="288000" cy="28800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4" name="Picture 2">
            <a:extLst>
              <a:ext uri="{FF2B5EF4-FFF2-40B4-BE49-F238E27FC236}">
                <a16:creationId xmlns:a16="http://schemas.microsoft.com/office/drawing/2014/main" xmlns="" id="{2880DC03-E80E-25C0-4B81-43F76C5827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09449" y="1276683"/>
            <a:ext cx="288000" cy="28800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5" name="Picture 2">
            <a:extLst>
              <a:ext uri="{FF2B5EF4-FFF2-40B4-BE49-F238E27FC236}">
                <a16:creationId xmlns:a16="http://schemas.microsoft.com/office/drawing/2014/main" xmlns="" id="{3038D42F-1599-C482-F206-7D10C9619E7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4774"/>
                    </a14:imgEffect>
                    <a14:imgEffect>
                      <a14:saturation sat="18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556377" y="1245904"/>
            <a:ext cx="288000" cy="28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6" name="Rounded Rectangle 53">
            <a:extLst>
              <a:ext uri="{FF2B5EF4-FFF2-40B4-BE49-F238E27FC236}">
                <a16:creationId xmlns:a16="http://schemas.microsoft.com/office/drawing/2014/main" xmlns="" id="{0D9C14A2-E9C5-99F5-1D0B-F4833ADC2377}"/>
              </a:ext>
            </a:extLst>
          </p:cNvPr>
          <p:cNvSpPr/>
          <p:nvPr/>
        </p:nvSpPr>
        <p:spPr>
          <a:xfrm>
            <a:off x="3866535" y="3414165"/>
            <a:ext cx="1660283" cy="362748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ссовое ПО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7" name="Rounded Rectangle 53">
            <a:extLst>
              <a:ext uri="{FF2B5EF4-FFF2-40B4-BE49-F238E27FC236}">
                <a16:creationId xmlns:a16="http://schemas.microsoft.com/office/drawing/2014/main" xmlns="" id="{52EFC8D8-DB54-1974-DDB7-A49C576CB031}"/>
              </a:ext>
            </a:extLst>
          </p:cNvPr>
          <p:cNvSpPr/>
          <p:nvPr/>
        </p:nvSpPr>
        <p:spPr>
          <a:xfrm>
            <a:off x="3890876" y="3963856"/>
            <a:ext cx="1635942" cy="327416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тестировать подачу сведений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1" name="Прямая соединительная линия 80">
            <a:extLst>
              <a:ext uri="{FF2B5EF4-FFF2-40B4-BE49-F238E27FC236}">
                <a16:creationId xmlns:a16="http://schemas.microsoft.com/office/drawing/2014/main" xmlns="" id="{0AF6D53D-68CE-2709-7F77-1EA47475BE42}"/>
              </a:ext>
            </a:extLst>
          </p:cNvPr>
          <p:cNvCxnSpPr>
            <a:cxnSpLocks/>
          </p:cNvCxnSpPr>
          <p:nvPr/>
        </p:nvCxnSpPr>
        <p:spPr>
          <a:xfrm flipH="1">
            <a:off x="3609969" y="3601369"/>
            <a:ext cx="272812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>
            <a:extLst>
              <a:ext uri="{FF2B5EF4-FFF2-40B4-BE49-F238E27FC236}">
                <a16:creationId xmlns:a16="http://schemas.microsoft.com/office/drawing/2014/main" xmlns="" id="{46BCC814-1C54-49AD-9540-A8DD4EAF7034}"/>
              </a:ext>
            </a:extLst>
          </p:cNvPr>
          <p:cNvCxnSpPr>
            <a:cxnSpLocks/>
          </p:cNvCxnSpPr>
          <p:nvPr/>
        </p:nvCxnSpPr>
        <p:spPr>
          <a:xfrm flipH="1">
            <a:off x="3618064" y="4157211"/>
            <a:ext cx="272812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xmlns="" id="{3024B2AB-7FE5-2E00-6474-3D6C9CB4933B}"/>
              </a:ext>
            </a:extLst>
          </p:cNvPr>
          <p:cNvSpPr txBox="1"/>
          <p:nvPr/>
        </p:nvSpPr>
        <p:spPr>
          <a:xfrm>
            <a:off x="1330491" y="1626961"/>
            <a:ext cx="216556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апреля 2023</a:t>
            </a:r>
            <a:endParaRPr lang="x-none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xmlns="" id="{D1067852-FB77-2D77-CEB3-DA8E0772623A}"/>
              </a:ext>
            </a:extLst>
          </p:cNvPr>
          <p:cNvSpPr txBox="1"/>
          <p:nvPr/>
        </p:nvSpPr>
        <p:spPr>
          <a:xfrm>
            <a:off x="8678934" y="1619253"/>
            <a:ext cx="197369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 15 января 2024</a:t>
            </a:r>
            <a:endParaRPr lang="x-none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6" name="Graphic 28">
            <a:extLst>
              <a:ext uri="{FF2B5EF4-FFF2-40B4-BE49-F238E27FC236}">
                <a16:creationId xmlns:a16="http://schemas.microsoft.com/office/drawing/2014/main" xmlns="" id="{1B96127E-1655-B02F-F343-D059D3ACA56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rcRect/>
          <a:stretch/>
        </p:blipFill>
        <p:spPr>
          <a:xfrm>
            <a:off x="1577558" y="4837996"/>
            <a:ext cx="720000" cy="720000"/>
          </a:xfrm>
          <a:prstGeom prst="rect">
            <a:avLst/>
          </a:prstGeom>
        </p:spPr>
      </p:pic>
      <p:pic>
        <p:nvPicPr>
          <p:cNvPr id="18" name="Graphic 32">
            <a:extLst>
              <a:ext uri="{FF2B5EF4-FFF2-40B4-BE49-F238E27FC236}">
                <a16:creationId xmlns:a16="http://schemas.microsoft.com/office/drawing/2014/main" xmlns="" id="{E7351397-7014-C04D-17DF-9EF83B7FB50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rcRect/>
          <a:stretch/>
        </p:blipFill>
        <p:spPr>
          <a:xfrm>
            <a:off x="4174253" y="4882156"/>
            <a:ext cx="720000" cy="675840"/>
          </a:xfrm>
          <a:prstGeom prst="rect">
            <a:avLst/>
          </a:prstGeom>
        </p:spPr>
      </p:pic>
      <p:pic>
        <p:nvPicPr>
          <p:cNvPr id="20" name="Picture 29">
            <a:extLst>
              <a:ext uri="{FF2B5EF4-FFF2-40B4-BE49-F238E27FC236}">
                <a16:creationId xmlns:a16="http://schemas.microsoft.com/office/drawing/2014/main" xmlns="" id="{E14790EE-EDE2-3B31-D05D-4297F789116E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88022" y="4810521"/>
            <a:ext cx="731046" cy="731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884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ача сведений о подключении Кега к оборудованию для розлива</a:t>
            </a:r>
            <a:endParaRPr lang="x-none" sz="20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DAB081F2-B4E9-80BF-D4DC-B0E1B81467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1371000" y="1961122"/>
            <a:ext cx="1080000" cy="10800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7A2CB572-F21D-37E6-4237-663228CAA6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4161000" y="1961122"/>
            <a:ext cx="1080000" cy="10800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xmlns="" id="{409FF971-4996-EEF3-C6A9-8B925AD273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/>
          <a:stretch/>
        </p:blipFill>
        <p:spPr>
          <a:xfrm>
            <a:off x="7041000" y="2051122"/>
            <a:ext cx="900000" cy="900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xmlns="" id="{0BC217D3-6F3B-3537-252E-1ED94989BD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9717600" y="1960691"/>
            <a:ext cx="1126800" cy="108086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B3BE8544-A90F-30EE-786B-1667CCC6414C}"/>
              </a:ext>
            </a:extLst>
          </p:cNvPr>
          <p:cNvSpPr txBox="1"/>
          <p:nvPr/>
        </p:nvSpPr>
        <p:spPr>
          <a:xfrm>
            <a:off x="2899600" y="3931721"/>
            <a:ext cx="3602800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ача сведений </a:t>
            </a:r>
            <a:r>
              <a:rPr lang="ru-RU" sz="1500" dirty="0">
                <a:solidFill>
                  <a:srgbClr val="63666A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н</a:t>
            </a:r>
            <a:r>
              <a:rPr lang="ru-RU" sz="15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е позднее следующего рабочего дня после подключения кега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ИНН, КПП/ФИАС, Код идентификации кеги, дата истечения предельного срока реализации пива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4802766E-31E4-CDBD-5D27-30304C55DA07}"/>
              </a:ext>
            </a:extLst>
          </p:cNvPr>
          <p:cNvSpPr txBox="1"/>
          <p:nvPr/>
        </p:nvSpPr>
        <p:spPr>
          <a:xfrm>
            <a:off x="6697600" y="3931721"/>
            <a:ext cx="437680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5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ЕГАИС и ГИС МТ обмениваются сведениями о подключении кега в рамках интеграции систем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CC62A5FC-5FA6-445A-EAF0-0A48A35ED865}"/>
              </a:ext>
            </a:extLst>
          </p:cNvPr>
          <p:cNvGrpSpPr/>
          <p:nvPr/>
        </p:nvGrpSpPr>
        <p:grpSpPr>
          <a:xfrm>
            <a:off x="3039550" y="2139036"/>
            <a:ext cx="532900" cy="724172"/>
            <a:chOff x="6084400" y="3259811"/>
            <a:chExt cx="532900" cy="724172"/>
          </a:xfrm>
        </p:grpSpPr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xmlns="" id="{7F71EDC4-878C-B0CC-E636-1C4158F7C68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6325700" y="3259811"/>
              <a:ext cx="291600" cy="724172"/>
            </a:xfrm>
            <a:prstGeom prst="rect">
              <a:avLst/>
            </a:prstGeom>
          </p:spPr>
        </p:pic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xmlns="" id="{AF9DA5FE-E98F-2F71-1E37-816F28B277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6084400" y="3259811"/>
              <a:ext cx="291600" cy="724172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xmlns="" id="{BA69F52C-3D13-8707-AA15-D38C383C202F}"/>
              </a:ext>
            </a:extLst>
          </p:cNvPr>
          <p:cNvGrpSpPr/>
          <p:nvPr/>
        </p:nvGrpSpPr>
        <p:grpSpPr>
          <a:xfrm>
            <a:off x="5829550" y="2139036"/>
            <a:ext cx="532900" cy="724172"/>
            <a:chOff x="6084400" y="3259811"/>
            <a:chExt cx="532900" cy="724172"/>
          </a:xfrm>
        </p:grpSpPr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xmlns="" id="{81355719-0C14-5236-93EE-CED7CBE8078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6325700" y="3259811"/>
              <a:ext cx="291600" cy="724172"/>
            </a:xfrm>
            <a:prstGeom prst="rect">
              <a:avLst/>
            </a:prstGeom>
          </p:spPr>
        </p:pic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xmlns="" id="{70758A0A-03C6-E24C-4A1C-1E5872DE26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6084400" y="3259811"/>
              <a:ext cx="291600" cy="724172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D1DF7546-2CE3-26AB-D39A-5FB32A697969}"/>
              </a:ext>
            </a:extLst>
          </p:cNvPr>
          <p:cNvGrpSpPr/>
          <p:nvPr/>
        </p:nvGrpSpPr>
        <p:grpSpPr>
          <a:xfrm>
            <a:off x="8619550" y="2139036"/>
            <a:ext cx="532900" cy="724172"/>
            <a:chOff x="6084400" y="3259811"/>
            <a:chExt cx="532900" cy="724172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xmlns="" id="{DA1B679B-7F59-041A-1FA5-EA84C0F5EDC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6325700" y="3259811"/>
              <a:ext cx="291600" cy="724172"/>
            </a:xfrm>
            <a:prstGeom prst="rect">
              <a:avLst/>
            </a:prstGeom>
          </p:spPr>
        </p:pic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xmlns="" id="{3B9BADBD-6BDC-358A-C5C8-97C0F43188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6084400" y="3259811"/>
              <a:ext cx="291600" cy="724172"/>
            </a:xfrm>
            <a:prstGeom prst="rect">
              <a:avLst/>
            </a:prstGeom>
          </p:spPr>
        </p:pic>
      </p:grp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xmlns="" id="{21B023BE-68C1-E0AD-DF38-BA1914EE8965}"/>
              </a:ext>
            </a:extLst>
          </p:cNvPr>
          <p:cNvCxnSpPr>
            <a:cxnSpLocks/>
            <a:endCxn id="17" idx="0"/>
          </p:cNvCxnSpPr>
          <p:nvPr/>
        </p:nvCxnSpPr>
        <p:spPr>
          <a:xfrm flipH="1">
            <a:off x="4701000" y="3287344"/>
            <a:ext cx="2850" cy="644377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Elbow Connector 41">
            <a:extLst>
              <a:ext uri="{FF2B5EF4-FFF2-40B4-BE49-F238E27FC236}">
                <a16:creationId xmlns:a16="http://schemas.microsoft.com/office/drawing/2014/main" xmlns="" id="{66DFEA91-10DC-3578-12EA-11529141340C}"/>
              </a:ext>
            </a:extLst>
          </p:cNvPr>
          <p:cNvCxnSpPr>
            <a:cxnSpLocks/>
            <a:endCxn id="18" idx="0"/>
          </p:cNvCxnSpPr>
          <p:nvPr/>
        </p:nvCxnSpPr>
        <p:spPr>
          <a:xfrm>
            <a:off x="7494550" y="3287343"/>
            <a:ext cx="1391450" cy="644378"/>
          </a:xfrm>
          <a:prstGeom prst="bentConnector2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Elbow Connector 42">
            <a:extLst>
              <a:ext uri="{FF2B5EF4-FFF2-40B4-BE49-F238E27FC236}">
                <a16:creationId xmlns:a16="http://schemas.microsoft.com/office/drawing/2014/main" xmlns="" id="{89B9A21B-66AC-3C4F-FBC2-1C2FEE0627D8}"/>
              </a:ext>
            </a:extLst>
          </p:cNvPr>
          <p:cNvCxnSpPr>
            <a:cxnSpLocks/>
            <a:endCxn id="18" idx="0"/>
          </p:cNvCxnSpPr>
          <p:nvPr/>
        </p:nvCxnSpPr>
        <p:spPr>
          <a:xfrm rot="10800000" flipV="1">
            <a:off x="8886001" y="3287343"/>
            <a:ext cx="1395001" cy="644378"/>
          </a:xfrm>
          <a:prstGeom prst="bentConnector2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60CA46EC-89D7-DEC9-455D-1BEADCEB0910}"/>
              </a:ext>
            </a:extLst>
          </p:cNvPr>
          <p:cNvSpPr txBox="1"/>
          <p:nvPr/>
        </p:nvSpPr>
        <p:spPr>
          <a:xfrm>
            <a:off x="516000" y="1175458"/>
            <a:ext cx="11160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С</a:t>
            </a:r>
            <a:r>
              <a:rPr lang="ru-RU" sz="16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 </a:t>
            </a:r>
            <a:r>
              <a:rPr lang="ru-RU" sz="1600" b="1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15.01.2024</a:t>
            </a:r>
            <a:r>
              <a:rPr lang="ru-RU" sz="16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 участники оборота, осуществляющие розничную реализацию пива и слабоалкогольных напитков в розлив подают сведения о подключении кега к оборудованию для розлива</a:t>
            </a:r>
            <a:endParaRPr lang="ru-RU" sz="1600" dirty="0">
              <a:solidFill>
                <a:srgbClr val="63666A"/>
              </a:solidFill>
            </a:endParaRPr>
          </a:p>
        </p:txBody>
      </p:sp>
      <p:sp>
        <p:nvSpPr>
          <p:cNvPr id="4" name="Скругленный прямоугольник 8">
            <a:extLst>
              <a:ext uri="{FF2B5EF4-FFF2-40B4-BE49-F238E27FC236}">
                <a16:creationId xmlns:a16="http://schemas.microsoft.com/office/drawing/2014/main" xmlns="" id="{728268B2-E9D2-6AFD-4288-3388DF1B8778}"/>
              </a:ext>
            </a:extLst>
          </p:cNvPr>
          <p:cNvSpPr/>
          <p:nvPr/>
        </p:nvSpPr>
        <p:spPr>
          <a:xfrm>
            <a:off x="381000" y="5959399"/>
            <a:ext cx="11295000" cy="836324"/>
          </a:xfrm>
          <a:prstGeom prst="roundRect">
            <a:avLst>
              <a:gd name="adj" fmla="val 9578"/>
            </a:avLst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0" tIns="180000" rIns="180000" bIns="180000" rtlCol="0" anchor="ctr"/>
          <a:lstStyle/>
          <a:p>
            <a:pPr lvl="1">
              <a:spcBef>
                <a:spcPts val="600"/>
              </a:spcBef>
            </a:pP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 требуется: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авать в ГИС МТ сведения при приемке или перемещении продукции с указанием КМ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авать в ГИС МТ сведения о выводе из оборота по прочим причинам с указанием КМ (списание)</a:t>
            </a:r>
          </a:p>
        </p:txBody>
      </p:sp>
      <p:pic>
        <p:nvPicPr>
          <p:cNvPr id="6" name="Graphic 23">
            <a:extLst>
              <a:ext uri="{FF2B5EF4-FFF2-40B4-BE49-F238E27FC236}">
                <a16:creationId xmlns:a16="http://schemas.microsoft.com/office/drawing/2014/main" xmlns="" id="{31635919-F89F-EE87-1153-33C1C1C60CF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769850" y="6045401"/>
            <a:ext cx="720000" cy="66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2823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озничная реализация пива в Кегах в розлив</a:t>
            </a:r>
            <a:endParaRPr lang="x-none" sz="20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Скругленный прямоугольник 8">
            <a:extLst>
              <a:ext uri="{FF2B5EF4-FFF2-40B4-BE49-F238E27FC236}">
                <a16:creationId xmlns:a16="http://schemas.microsoft.com/office/drawing/2014/main" xmlns="" id="{234ABEF6-2D74-BD1B-28E6-9F12E891748D}"/>
              </a:ext>
            </a:extLst>
          </p:cNvPr>
          <p:cNvSpPr/>
          <p:nvPr/>
        </p:nvSpPr>
        <p:spPr>
          <a:xfrm>
            <a:off x="516000" y="1562100"/>
            <a:ext cx="11160000" cy="2194016"/>
          </a:xfrm>
          <a:prstGeom prst="roundRect">
            <a:avLst>
              <a:gd name="adj" fmla="val 509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endParaRPr lang="en-US" sz="1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Скругленный прямоугольник 8">
            <a:extLst>
              <a:ext uri="{FF2B5EF4-FFF2-40B4-BE49-F238E27FC236}">
                <a16:creationId xmlns:a16="http://schemas.microsoft.com/office/drawing/2014/main" xmlns="" id="{E70DC430-0E1F-30AE-4ED8-206DF0852A9D}"/>
              </a:ext>
            </a:extLst>
          </p:cNvPr>
          <p:cNvSpPr/>
          <p:nvPr/>
        </p:nvSpPr>
        <p:spPr>
          <a:xfrm>
            <a:off x="516000" y="4047717"/>
            <a:ext cx="11160000" cy="2194016"/>
          </a:xfrm>
          <a:prstGeom prst="roundRect">
            <a:avLst>
              <a:gd name="adj" fmla="val 509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endParaRPr lang="en-US" sz="1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00F92D55-B7EF-EC35-1768-B942363BAA8A}"/>
              </a:ext>
            </a:extLst>
          </p:cNvPr>
          <p:cNvSpPr txBox="1"/>
          <p:nvPr/>
        </p:nvSpPr>
        <p:spPr>
          <a:xfrm>
            <a:off x="7924799" y="2094250"/>
            <a:ext cx="364062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наличии </a:t>
            </a:r>
            <a:r>
              <a:rPr lang="ru-RU" sz="14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говора с ОФД, в ГИС МТ в каждом чеке автоматически в </a:t>
            </a:r>
            <a:r>
              <a:rPr lang="ru-RU" sz="1400" b="1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нлайн режиме </a:t>
            </a:r>
            <a:r>
              <a:rPr lang="ru-RU" sz="14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едается информация о пиве в формате КМ/КИ + объем (для </a:t>
            </a:r>
            <a:r>
              <a:rPr lang="ru-RU" sz="1400" dirty="0" err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х</a:t>
            </a:r>
            <a:r>
              <a:rPr lang="ru-RU" sz="1400" dirty="0" err="1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реки</a:t>
            </a:r>
            <a:r>
              <a:rPr lang="ru-RU" sz="14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– </a:t>
            </a:r>
            <a:r>
              <a:rPr lang="en-US" sz="14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TIN+</a:t>
            </a:r>
            <a:r>
              <a:rPr lang="ru-RU" sz="14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ъем)</a:t>
            </a:r>
            <a:endParaRPr lang="ru-RU" sz="14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F38C5D3F-BC93-B08A-8AF5-93F6BCA8F6E6}"/>
              </a:ext>
            </a:extLst>
          </p:cNvPr>
          <p:cNvSpPr txBox="1"/>
          <p:nvPr/>
        </p:nvSpPr>
        <p:spPr>
          <a:xfrm>
            <a:off x="7924799" y="4452228"/>
            <a:ext cx="364062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отсутствии</a:t>
            </a:r>
            <a:r>
              <a:rPr lang="ru-RU" sz="14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договора с ОФД, а также в случае работы в отдаленных местностях, участник оборота должен передать информацию о реализации в ГИС МТ не позднее чем через </a:t>
            </a:r>
            <a:r>
              <a:rPr lang="ru-RU" sz="1400" b="1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0</a:t>
            </a:r>
            <a:r>
              <a:rPr lang="ru-RU" sz="14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календарных дней с момента реализации</a:t>
            </a:r>
            <a:endParaRPr lang="ru-RU" sz="14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xmlns="" id="{D7A72AD8-B061-0564-8C29-9DE08A60A103}"/>
              </a:ext>
            </a:extLst>
          </p:cNvPr>
          <p:cNvGrpSpPr/>
          <p:nvPr/>
        </p:nvGrpSpPr>
        <p:grpSpPr>
          <a:xfrm>
            <a:off x="857558" y="1828125"/>
            <a:ext cx="5125237" cy="1435676"/>
            <a:chOff x="895658" y="1941270"/>
            <a:chExt cx="5125237" cy="1435676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xmlns="" id="{4A514615-7C77-CC4E-C16C-CCA0B9D86B7D}"/>
                </a:ext>
              </a:extLst>
            </p:cNvPr>
            <p:cNvSpPr txBox="1"/>
            <p:nvPr/>
          </p:nvSpPr>
          <p:spPr>
            <a:xfrm>
              <a:off x="980595" y="1941270"/>
              <a:ext cx="5040300" cy="464331"/>
            </a:xfrm>
            <a:prstGeom prst="rect">
              <a:avLst/>
            </a:prstGeom>
            <a:noFill/>
          </p:spPr>
          <p:txBody>
            <a:bodyPr wrap="square" lIns="0" tIns="108000" rIns="0" bIns="108000">
              <a:spAutoFit/>
            </a:bodyPr>
            <a:lstStyle/>
            <a:p>
              <a:r>
                <a:rPr lang="ru-RU" sz="16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Вывод продукции</a:t>
              </a:r>
              <a:r>
                <a:rPr lang="en-US" sz="16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ru-RU" sz="16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из оборота</a:t>
              </a:r>
              <a:r>
                <a:rPr lang="en-US" sz="16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ru-RU" sz="16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(продажа на кассе)</a:t>
              </a:r>
              <a:endParaRPr lang="en-US" sz="1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xmlns="" id="{3F055C1E-0118-8339-2C5C-0C01318EBCCB}"/>
                </a:ext>
              </a:extLst>
            </p:cNvPr>
            <p:cNvGrpSpPr/>
            <p:nvPr/>
          </p:nvGrpSpPr>
          <p:grpSpPr>
            <a:xfrm>
              <a:off x="895658" y="2656946"/>
              <a:ext cx="5125236" cy="720000"/>
              <a:chOff x="3225800" y="2299106"/>
              <a:chExt cx="5125236" cy="720000"/>
            </a:xfrm>
          </p:grpSpPr>
          <p:pic>
            <p:nvPicPr>
              <p:cNvPr id="14" name="Graphic 13">
                <a:extLst>
                  <a:ext uri="{FF2B5EF4-FFF2-40B4-BE49-F238E27FC236}">
                    <a16:creationId xmlns:a16="http://schemas.microsoft.com/office/drawing/2014/main" xmlns="" id="{219E5DB7-15BC-1CD3-9F4B-9A14559BF8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rcRect/>
              <a:stretch/>
            </p:blipFill>
            <p:spPr>
              <a:xfrm>
                <a:off x="3225800" y="2299106"/>
                <a:ext cx="720000" cy="720000"/>
              </a:xfrm>
              <a:prstGeom prst="rect">
                <a:avLst/>
              </a:prstGeom>
            </p:spPr>
          </p:pic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xmlns="" id="{FC489F54-1D51-27D2-F87A-CF46376306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4064001" y="2479106"/>
                <a:ext cx="144960" cy="360000"/>
              </a:xfrm>
              <a:prstGeom prst="rect">
                <a:avLst/>
              </a:prstGeom>
            </p:spPr>
          </p:pic>
          <p:pic>
            <p:nvPicPr>
              <p:cNvPr id="18" name="Graphic 17">
                <a:extLst>
                  <a:ext uri="{FF2B5EF4-FFF2-40B4-BE49-F238E27FC236}">
                    <a16:creationId xmlns:a16="http://schemas.microsoft.com/office/drawing/2014/main" xmlns="" id="{BBE0FAFA-3B9F-B9AB-23CE-70983C4098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xmlns="" r:embed="rId7"/>
                  </a:ext>
                </a:extLst>
              </a:blip>
              <a:srcRect/>
              <a:stretch/>
            </p:blipFill>
            <p:spPr>
              <a:xfrm>
                <a:off x="4327162" y="2299106"/>
                <a:ext cx="720000" cy="720000"/>
              </a:xfrm>
              <a:prstGeom prst="rect">
                <a:avLst/>
              </a:prstGeom>
            </p:spPr>
          </p:pic>
          <p:pic>
            <p:nvPicPr>
              <p:cNvPr id="19" name="Graphic 18">
                <a:extLst>
                  <a:ext uri="{FF2B5EF4-FFF2-40B4-BE49-F238E27FC236}">
                    <a16:creationId xmlns:a16="http://schemas.microsoft.com/office/drawing/2014/main" xmlns="" id="{52E9C2ED-AC23-0EEE-9A8D-455A741128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5167359" y="2479106"/>
                <a:ext cx="144960" cy="360000"/>
              </a:xfrm>
              <a:prstGeom prst="rect">
                <a:avLst/>
              </a:prstGeom>
            </p:spPr>
          </p:pic>
          <p:pic>
            <p:nvPicPr>
              <p:cNvPr id="20" name="Graphic 19">
                <a:extLst>
                  <a:ext uri="{FF2B5EF4-FFF2-40B4-BE49-F238E27FC236}">
                    <a16:creationId xmlns:a16="http://schemas.microsoft.com/office/drawing/2014/main" xmlns="" id="{1AF34DB7-C5C0-50B3-2C0D-509AB30BAF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xmlns="" r:embed="rId9"/>
                  </a:ext>
                </a:extLst>
              </a:blip>
              <a:srcRect/>
              <a:stretch/>
            </p:blipFill>
            <p:spPr>
              <a:xfrm>
                <a:off x="5428524" y="2321186"/>
                <a:ext cx="720000" cy="675840"/>
              </a:xfrm>
              <a:prstGeom prst="rect">
                <a:avLst/>
              </a:prstGeom>
            </p:spPr>
          </p:pic>
          <p:pic>
            <p:nvPicPr>
              <p:cNvPr id="21" name="Graphic 20">
                <a:extLst>
                  <a:ext uri="{FF2B5EF4-FFF2-40B4-BE49-F238E27FC236}">
                    <a16:creationId xmlns:a16="http://schemas.microsoft.com/office/drawing/2014/main" xmlns="" id="{AD4F8D5D-48CF-B0C1-1B84-DB9FBBC2A8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xmlns="" r:embed="rId11"/>
                  </a:ext>
                </a:extLst>
              </a:blip>
              <a:srcRect/>
              <a:stretch/>
            </p:blipFill>
            <p:spPr>
              <a:xfrm>
                <a:off x="6529886" y="2299106"/>
                <a:ext cx="720000" cy="720000"/>
              </a:xfrm>
              <a:prstGeom prst="rect">
                <a:avLst/>
              </a:prstGeom>
            </p:spPr>
          </p:pic>
          <p:pic>
            <p:nvPicPr>
              <p:cNvPr id="22" name="Graphic 13">
                <a:extLst>
                  <a:ext uri="{FF2B5EF4-FFF2-40B4-BE49-F238E27FC236}">
                    <a16:creationId xmlns:a16="http://schemas.microsoft.com/office/drawing/2014/main" xmlns="" id="{8F044DE0-BFE4-3D57-E6AA-A5F669DDF8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rcRect/>
              <a:stretch/>
            </p:blipFill>
            <p:spPr>
              <a:xfrm>
                <a:off x="7631036" y="2313785"/>
                <a:ext cx="720000" cy="690647"/>
              </a:xfrm>
              <a:prstGeom prst="rect">
                <a:avLst/>
              </a:prstGeom>
            </p:spPr>
          </p:pic>
          <p:pic>
            <p:nvPicPr>
              <p:cNvPr id="23" name="Graphic 22">
                <a:extLst>
                  <a:ext uri="{FF2B5EF4-FFF2-40B4-BE49-F238E27FC236}">
                    <a16:creationId xmlns:a16="http://schemas.microsoft.com/office/drawing/2014/main" xmlns="" id="{E734C672-F967-E9E1-5E4B-E13A0935EE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6259544" y="2479106"/>
                <a:ext cx="144960" cy="360000"/>
              </a:xfrm>
              <a:prstGeom prst="rect">
                <a:avLst/>
              </a:prstGeom>
            </p:spPr>
          </p:pic>
          <p:pic>
            <p:nvPicPr>
              <p:cNvPr id="24" name="Graphic 23">
                <a:extLst>
                  <a:ext uri="{FF2B5EF4-FFF2-40B4-BE49-F238E27FC236}">
                    <a16:creationId xmlns:a16="http://schemas.microsoft.com/office/drawing/2014/main" xmlns="" id="{1523B113-69F9-B423-B658-523E52D369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7367981" y="2479106"/>
                <a:ext cx="144960" cy="360000"/>
              </a:xfrm>
              <a:prstGeom prst="rect">
                <a:avLst/>
              </a:prstGeom>
            </p:spPr>
          </p:pic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xmlns="" id="{5BF04A76-53B6-5CAC-B8A9-66A6833F9533}"/>
              </a:ext>
            </a:extLst>
          </p:cNvPr>
          <p:cNvGrpSpPr/>
          <p:nvPr/>
        </p:nvGrpSpPr>
        <p:grpSpPr>
          <a:xfrm>
            <a:off x="857558" y="4313742"/>
            <a:ext cx="6129610" cy="1436510"/>
            <a:chOff x="895658" y="4426887"/>
            <a:chExt cx="6129610" cy="143651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7763AACC-48CA-C3A8-2050-27B776542003}"/>
                </a:ext>
              </a:extLst>
            </p:cNvPr>
            <p:cNvSpPr txBox="1"/>
            <p:nvPr/>
          </p:nvSpPr>
          <p:spPr>
            <a:xfrm>
              <a:off x="980595" y="4426887"/>
              <a:ext cx="5040300" cy="464331"/>
            </a:xfrm>
            <a:prstGeom prst="rect">
              <a:avLst/>
            </a:prstGeom>
            <a:noFill/>
          </p:spPr>
          <p:txBody>
            <a:bodyPr wrap="square" lIns="0" tIns="108000" rIns="0" bIns="108000">
              <a:spAutoFit/>
            </a:bodyPr>
            <a:lstStyle/>
            <a:p>
              <a:r>
                <a:rPr lang="ru-RU" sz="16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Вывод продукции без договора с ОФД</a:t>
              </a:r>
              <a:endParaRPr lang="en-US" sz="1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xmlns="" id="{DD9D6C63-7260-A0E9-FDA4-30CA763E39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rcRect/>
            <a:stretch/>
          </p:blipFill>
          <p:spPr>
            <a:xfrm>
              <a:off x="895658" y="5142563"/>
              <a:ext cx="720000" cy="720000"/>
            </a:xfrm>
            <a:prstGeom prst="rect">
              <a:avLst/>
            </a:prstGeom>
          </p:spPr>
        </p:pic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xmlns="" id="{6EA5C558-AD72-671D-CBDA-F2B576287A3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1733859" y="5322563"/>
              <a:ext cx="144960" cy="360000"/>
            </a:xfrm>
            <a:prstGeom prst="rect">
              <a:avLst/>
            </a:prstGeom>
          </p:spPr>
        </p:pic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xmlns="" id="{AEACF958-7286-62E4-344C-C7EC08A9A6A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rcRect/>
            <a:stretch/>
          </p:blipFill>
          <p:spPr>
            <a:xfrm>
              <a:off x="1997020" y="5142563"/>
              <a:ext cx="720000" cy="720000"/>
            </a:xfrm>
            <a:prstGeom prst="rect">
              <a:avLst/>
            </a:prstGeom>
          </p:spPr>
        </p:pic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xmlns="" id="{964E0119-3A03-76EC-C022-7D1458770DF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2837217" y="5322563"/>
              <a:ext cx="144960" cy="360000"/>
            </a:xfrm>
            <a:prstGeom prst="rect">
              <a:avLst/>
            </a:prstGeom>
          </p:spPr>
        </p:pic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xmlns="" id="{FAAFD584-2996-7371-7908-1FC446B4D8C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rcRect/>
            <a:stretch/>
          </p:blipFill>
          <p:spPr>
            <a:xfrm>
              <a:off x="3098382" y="5164643"/>
              <a:ext cx="720000" cy="675840"/>
            </a:xfrm>
            <a:prstGeom prst="rect">
              <a:avLst/>
            </a:prstGeom>
          </p:spPr>
        </p:pic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xmlns="" id="{2992995E-2856-3006-2F4E-5F307CBBD2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3929402" y="5322563"/>
              <a:ext cx="144960" cy="360000"/>
            </a:xfrm>
            <a:prstGeom prst="rect">
              <a:avLst/>
            </a:prstGeom>
          </p:spPr>
        </p:pic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xmlns="" id="{1C8640BC-F381-F8C3-C37D-2E149B8483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rcRect/>
            <a:stretch/>
          </p:blipFill>
          <p:spPr>
            <a:xfrm>
              <a:off x="4199744" y="5142563"/>
              <a:ext cx="622800" cy="720834"/>
            </a:xfrm>
            <a:prstGeom prst="rect">
              <a:avLst/>
            </a:prstGeom>
          </p:spPr>
        </p:pic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xmlns="" id="{5EB2ABB9-E9DD-F70E-4DFA-D254E55915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rcRect/>
            <a:stretch/>
          </p:blipFill>
          <p:spPr>
            <a:xfrm>
              <a:off x="5204118" y="5142563"/>
              <a:ext cx="720000" cy="720000"/>
            </a:xfrm>
            <a:prstGeom prst="rect">
              <a:avLst/>
            </a:prstGeom>
          </p:spPr>
        </p:pic>
        <p:pic>
          <p:nvPicPr>
            <p:cNvPr id="42" name="Graphic 13">
              <a:extLst>
                <a:ext uri="{FF2B5EF4-FFF2-40B4-BE49-F238E27FC236}">
                  <a16:creationId xmlns:a16="http://schemas.microsoft.com/office/drawing/2014/main" xmlns="" id="{87CA9796-F6BD-3965-1DD5-2D3F026C6D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rcRect/>
            <a:stretch/>
          </p:blipFill>
          <p:spPr>
            <a:xfrm>
              <a:off x="6305268" y="5157242"/>
              <a:ext cx="720000" cy="690647"/>
            </a:xfrm>
            <a:prstGeom prst="rect">
              <a:avLst/>
            </a:prstGeom>
          </p:spPr>
        </p:pic>
        <p:pic>
          <p:nvPicPr>
            <p:cNvPr id="43" name="Graphic 42">
              <a:extLst>
                <a:ext uri="{FF2B5EF4-FFF2-40B4-BE49-F238E27FC236}">
                  <a16:creationId xmlns:a16="http://schemas.microsoft.com/office/drawing/2014/main" xmlns="" id="{981ED155-8E70-DFDC-2B48-EE13CB4DB8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6042213" y="5322563"/>
              <a:ext cx="144960" cy="360000"/>
            </a:xfrm>
            <a:prstGeom prst="rect">
              <a:avLst/>
            </a:prstGeom>
          </p:spPr>
        </p:pic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xmlns="" id="{9A853789-4503-AE41-C327-A45A9B916B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4947261" y="5322563"/>
              <a:ext cx="144960" cy="360000"/>
            </a:xfrm>
            <a:prstGeom prst="rect">
              <a:avLst/>
            </a:prstGeom>
          </p:spPr>
        </p:pic>
      </p:grp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xmlns="" id="{A20E4027-A449-AA5C-2A95-3CFD8624E862}"/>
              </a:ext>
            </a:extLst>
          </p:cNvPr>
          <p:cNvCxnSpPr>
            <a:cxnSpLocks/>
          </p:cNvCxnSpPr>
          <p:nvPr/>
        </p:nvCxnSpPr>
        <p:spPr>
          <a:xfrm>
            <a:off x="7607300" y="1935208"/>
            <a:ext cx="0" cy="144780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xmlns="" id="{BB9982F3-725F-1020-96E6-E5D5BEA04C29}"/>
              </a:ext>
            </a:extLst>
          </p:cNvPr>
          <p:cNvCxnSpPr>
            <a:cxnSpLocks/>
          </p:cNvCxnSpPr>
          <p:nvPr/>
        </p:nvCxnSpPr>
        <p:spPr>
          <a:xfrm>
            <a:off x="7607300" y="4420825"/>
            <a:ext cx="0" cy="144780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22691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ottle, indoor, counter, alcohol&#10;&#10;Description automatically generated">
            <a:extLst>
              <a:ext uri="{FF2B5EF4-FFF2-40B4-BE49-F238E27FC236}">
                <a16:creationId xmlns:a16="http://schemas.microsoft.com/office/drawing/2014/main" xmlns="" id="{6AAF634C-FC76-1FCB-1DD3-364FEFB786F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31C4D91-3018-8449-6333-857B0707B8E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3666A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3465689" y="2844800"/>
            <a:ext cx="5260622" cy="11684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ветственность</a:t>
            </a:r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97118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Rectangle 14">
            <a:extLst>
              <a:ext uri="{FF2B5EF4-FFF2-40B4-BE49-F238E27FC236}">
                <a16:creationId xmlns:a16="http://schemas.microsoft.com/office/drawing/2014/main" xmlns="" id="{A4EE3B9E-A6B4-4459-90EC-2C54C452BED6}"/>
              </a:ext>
            </a:extLst>
          </p:cNvPr>
          <p:cNvSpPr/>
          <p:nvPr/>
        </p:nvSpPr>
        <p:spPr>
          <a:xfrm rot="5400000">
            <a:off x="11174896" y="186213"/>
            <a:ext cx="1013791" cy="64136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24" name="Shape 175">
            <a:extLst>
              <a:ext uri="{FF2B5EF4-FFF2-40B4-BE49-F238E27FC236}">
                <a16:creationId xmlns:a16="http://schemas.microsoft.com/office/drawing/2014/main" xmlns="" id="{3E1E5D8A-2529-7248-995A-93BE77EC9B28}"/>
              </a:ext>
            </a:extLst>
          </p:cNvPr>
          <p:cNvSpPr/>
          <p:nvPr/>
        </p:nvSpPr>
        <p:spPr>
          <a:xfrm>
            <a:off x="11477683" y="276626"/>
            <a:ext cx="438061" cy="432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Autofit/>
          </a:bodyPr>
          <a:lstStyle>
            <a:lvl1pPr defTabSz="900112">
              <a:lnSpc>
                <a:spcPts val="2000"/>
              </a:lnSpc>
              <a:defRPr sz="1600">
                <a:latin typeface="+mj-lt"/>
                <a:ea typeface="+mj-ea"/>
                <a:cs typeface="+mj-cs"/>
                <a:sym typeface="Akzidenz-Grotesk Pro Regular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125" name="Скругленный прямоугольник 8">
            <a:extLst>
              <a:ext uri="{FF2B5EF4-FFF2-40B4-BE49-F238E27FC236}">
                <a16:creationId xmlns:a16="http://schemas.microsoft.com/office/drawing/2014/main" xmlns="" id="{3A474301-7A3B-B444-8DDE-8F0BE518F0FA}"/>
              </a:ext>
            </a:extLst>
          </p:cNvPr>
          <p:cNvSpPr/>
          <p:nvPr/>
        </p:nvSpPr>
        <p:spPr>
          <a:xfrm>
            <a:off x="320970" y="235678"/>
            <a:ext cx="10567022" cy="738499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руппы обязательных требований в маркировке</a:t>
            </a:r>
          </a:p>
        </p:txBody>
      </p: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xmlns="" id="{544F51B4-0D8E-EBAE-26A4-9F08775A7828}"/>
              </a:ext>
            </a:extLst>
          </p:cNvPr>
          <p:cNvSpPr/>
          <p:nvPr/>
        </p:nvSpPr>
        <p:spPr>
          <a:xfrm>
            <a:off x="877455" y="1851891"/>
            <a:ext cx="3214255" cy="2161309"/>
          </a:xfrm>
          <a:prstGeom prst="roundRect">
            <a:avLst/>
          </a:prstGeom>
          <a:ln w="285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1. Наличие маркировки</a:t>
            </a:r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xmlns="" id="{DF780378-EAA7-31B6-A38E-499538AFEF4D}"/>
              </a:ext>
            </a:extLst>
          </p:cNvPr>
          <p:cNvSpPr/>
          <p:nvPr/>
        </p:nvSpPr>
        <p:spPr>
          <a:xfrm>
            <a:off x="4488872" y="1851892"/>
            <a:ext cx="3214255" cy="2161309"/>
          </a:xfrm>
          <a:prstGeom prst="roundRect">
            <a:avLst/>
          </a:prstGeom>
          <a:ln w="285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. Полнота, своевременность, достоверность передаваемых сведений</a:t>
            </a:r>
          </a:p>
        </p:txBody>
      </p: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xmlns="" id="{F101067E-D178-4623-07D0-09F7F1A32A80}"/>
              </a:ext>
            </a:extLst>
          </p:cNvPr>
          <p:cNvSpPr/>
          <p:nvPr/>
        </p:nvSpPr>
        <p:spPr>
          <a:xfrm>
            <a:off x="8263428" y="1851893"/>
            <a:ext cx="3214255" cy="2161309"/>
          </a:xfrm>
          <a:prstGeom prst="roundRect">
            <a:avLst/>
          </a:prstGeom>
          <a:ln w="28575">
            <a:prstDash val="sysDash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3. Использование данных системы как индикаторы риска нарушений обязательных  требований в иных сферах контроля (надзора)</a:t>
            </a:r>
          </a:p>
        </p:txBody>
      </p:sp>
      <p:sp>
        <p:nvSpPr>
          <p:cNvPr id="5" name="Прямоугольник 87">
            <a:extLst>
              <a:ext uri="{FF2B5EF4-FFF2-40B4-BE49-F238E27FC236}">
                <a16:creationId xmlns:a16="http://schemas.microsoft.com/office/drawing/2014/main" xmlns="" id="{E29BFC18-191B-D668-2B67-983B4EC8DA78}"/>
              </a:ext>
            </a:extLst>
          </p:cNvPr>
          <p:cNvSpPr/>
          <p:nvPr/>
        </p:nvSpPr>
        <p:spPr>
          <a:xfrm>
            <a:off x="1029465" y="4560054"/>
            <a:ext cx="6673662" cy="1031051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pPr algn="ctr">
              <a:buClr>
                <a:srgbClr val="97684E"/>
              </a:buClr>
              <a:buSzPct val="130000"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Уполномоченные органы контроля (надзора)</a:t>
            </a: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kzidenz-Grotesk Pro Regular"/>
            </a:endParaRP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Росалкогольрегулирование – производители, импортеры, оптовики</a:t>
            </a:r>
          </a:p>
          <a:p>
            <a:pPr>
              <a:buSzPct val="130000"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kzidenz-Grotesk Pro Regular"/>
            </a:endParaRP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Органы власти субъектов РФ – розница</a:t>
            </a:r>
          </a:p>
        </p:txBody>
      </p:sp>
      <p:sp>
        <p:nvSpPr>
          <p:cNvPr id="6" name="Правая фигурная скобка 5">
            <a:extLst>
              <a:ext uri="{FF2B5EF4-FFF2-40B4-BE49-F238E27FC236}">
                <a16:creationId xmlns:a16="http://schemas.microsoft.com/office/drawing/2014/main" xmlns="" id="{70AE524D-FF94-5372-FB3B-7B5116AAC25A}"/>
              </a:ext>
            </a:extLst>
          </p:cNvPr>
          <p:cNvSpPr/>
          <p:nvPr/>
        </p:nvSpPr>
        <p:spPr>
          <a:xfrm rot="5400000">
            <a:off x="4069675" y="901857"/>
            <a:ext cx="369454" cy="6897453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87">
            <a:extLst>
              <a:ext uri="{FF2B5EF4-FFF2-40B4-BE49-F238E27FC236}">
                <a16:creationId xmlns:a16="http://schemas.microsoft.com/office/drawing/2014/main" xmlns="" id="{5B9A5E80-039B-5858-D372-0C6697BE3D1D}"/>
              </a:ext>
            </a:extLst>
          </p:cNvPr>
          <p:cNvSpPr/>
          <p:nvPr/>
        </p:nvSpPr>
        <p:spPr>
          <a:xfrm>
            <a:off x="476729" y="6022158"/>
            <a:ext cx="7555346" cy="600164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pPr algn="ctr">
              <a:buClr>
                <a:srgbClr val="97684E"/>
              </a:buClr>
              <a:buSzPct val="130000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Подготовлен проект изменений в положения Федерального закона от 22.11.1995 № 171-ФЗ</a:t>
            </a:r>
          </a:p>
          <a:p>
            <a:pPr algn="ctr">
              <a:buClr>
                <a:srgbClr val="97684E"/>
              </a:buClr>
              <a:buSzPct val="130000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"О государственном регулировании производства и оборота этилового спирта, алкогольной и спиртосодержащей продукции и об ограничении потребления (распития) алкогольной продукции"</a:t>
            </a:r>
          </a:p>
        </p:txBody>
      </p:sp>
      <p:sp>
        <p:nvSpPr>
          <p:cNvPr id="8" name="Прямоугольник 87">
            <a:extLst>
              <a:ext uri="{FF2B5EF4-FFF2-40B4-BE49-F238E27FC236}">
                <a16:creationId xmlns:a16="http://schemas.microsoft.com/office/drawing/2014/main" xmlns="" id="{0A6B532D-465D-B059-4770-2EE955A5F873}"/>
              </a:ext>
            </a:extLst>
          </p:cNvPr>
          <p:cNvSpPr/>
          <p:nvPr/>
        </p:nvSpPr>
        <p:spPr>
          <a:xfrm>
            <a:off x="8263428" y="4535311"/>
            <a:ext cx="3652316" cy="2200602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pPr algn="ctr">
              <a:buClr>
                <a:srgbClr val="97684E"/>
              </a:buClr>
              <a:buSzPct val="130000"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Уполномоченные органы контроля (надзора)</a:t>
            </a: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kzidenz-Grotesk Pro Regular"/>
            </a:endParaRP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ФНС России;</a:t>
            </a: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ФТС России;</a:t>
            </a: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ФАС России;</a:t>
            </a: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Росаккредитация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;</a:t>
            </a: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Роспатент;</a:t>
            </a: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Росздравнадзор и прочие.</a:t>
            </a: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kzidenz-Grotesk Pro Regular"/>
            </a:endParaRP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kzidenz-Grotesk Pro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423507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1"/>
          <p:cNvSpPr>
            <a:spLocks noChangeArrowheads="1"/>
          </p:cNvSpPr>
          <p:nvPr/>
        </p:nvSpPr>
        <p:spPr bwMode="auto">
          <a:xfrm>
            <a:off x="2015947" y="364672"/>
            <a:ext cx="1080596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algn="ctr"/>
            <a:r>
              <a: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</a:t>
            </a:r>
            <a:endParaRPr lang="ru-RU" sz="2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264321" y="1352419"/>
          <a:ext cx="11711353" cy="43118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487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2554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05527">
                  <a:extLst>
                    <a:ext uri="{9D8B030D-6E8A-4147-A177-3AD203B41FA5}">
                      <a16:colId xmlns:a16="http://schemas.microsoft.com/office/drawing/2014/main" xmlns="" val="4213271413"/>
                    </a:ext>
                  </a:extLst>
                </a:gridCol>
                <a:gridCol w="223643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5902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0396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татья</a:t>
                      </a:r>
                      <a:endParaRPr lang="en-US" sz="1800" b="1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зменения в КоАП РФ</a:t>
                      </a:r>
                      <a:endParaRPr lang="en-US" sz="1800" b="1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тветственность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тветственность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1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2550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Граждане</a:t>
                      </a:r>
                      <a:endParaRPr lang="en-US" sz="1400" b="1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Должностные</a:t>
                      </a:r>
                      <a:r>
                        <a:rPr lang="ru-RU" sz="1400" b="1" kern="1200" baseline="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лица</a:t>
                      </a:r>
                      <a:endParaRPr lang="ru-RU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Юридические</a:t>
                      </a:r>
                      <a:r>
                        <a:rPr lang="ru-RU" sz="1400" b="1" kern="1200" baseline="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лица</a:t>
                      </a:r>
                      <a:endParaRPr lang="ru-RU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92359760"/>
                  </a:ext>
                </a:extLst>
              </a:tr>
              <a:tr h="859842"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5.12 (пункт 3)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оизводство алкогольной продукции либо производство, ввод в оборот табачных изделий без маркировки и (или) нанесения информации, предусмотренной законодательством Российской Федерации, а также с нарушением установленного порядка соответствующей маркировки и (или) нанесения информации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-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30 000 – 50 000 рублей</a:t>
                      </a:r>
                    </a:p>
                    <a:p>
                      <a:pPr algn="ctr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нфискация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200 000 – 300 000 рублей</a:t>
                      </a:r>
                    </a:p>
                    <a:p>
                      <a:pPr algn="ctr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нфискация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71526"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5.12 (пункт 4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2075" algn="l"/>
                        </a:tabLst>
                        <a:defRPr/>
                      </a:pPr>
                      <a:r>
                        <a:rPr lang="ru-RU" sz="14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борот алкогольной продукции или табачных изделий без маркировки и (или) нанесения информации, предусмотренной законодательством Российской Федерации, в случае, если такая маркировка и (или) нанесение такой информации обязательны;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2075" algn="l"/>
                        </a:tabLst>
                        <a:defRPr/>
                      </a:pPr>
                      <a:r>
                        <a:rPr lang="ru-RU" sz="14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0 000 – 20 00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30 000 – 55 000 рублей</a:t>
                      </a:r>
                    </a:p>
                    <a:p>
                      <a:pPr algn="ctr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нфискация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300 000 – 500 000 рублей</a:t>
                      </a:r>
                    </a:p>
                    <a:p>
                      <a:pPr algn="ctr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нфискация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859842"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5.12 (1)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представление сведений и (или) нарушение порядка и сроков представления сведений либо представление неполных и (или) недостоверных сведений оператору;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 000 - 10 000</a:t>
                      </a:r>
                    </a:p>
                    <a:p>
                      <a:pPr algn="ctr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едупреждение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50 000 – 100 000 рублей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едупреждение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12" name="AutoShape 13" descr="Картинки по запросу минкомсвязь"/>
          <p:cNvSpPr>
            <a:spLocks noChangeAspect="1" noChangeArrowheads="1"/>
          </p:cNvSpPr>
          <p:nvPr/>
        </p:nvSpPr>
        <p:spPr bwMode="auto">
          <a:xfrm>
            <a:off x="193539" y="-144462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" name="Скругленный прямоугольник 8">
            <a:extLst>
              <a:ext uri="{FF2B5EF4-FFF2-40B4-BE49-F238E27FC236}">
                <a16:creationId xmlns:a16="http://schemas.microsoft.com/office/drawing/2014/main" xmlns="" id="{728A4BF9-FD1F-0A48-AAFC-CE090F1E362D}"/>
              </a:ext>
            </a:extLst>
          </p:cNvPr>
          <p:cNvSpPr/>
          <p:nvPr/>
        </p:nvSpPr>
        <p:spPr>
          <a:xfrm>
            <a:off x="264321" y="295488"/>
            <a:ext cx="10659949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lvl="0">
              <a:defRPr/>
            </a:pPr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дминистративная ответственность</a:t>
            </a:r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xmlns="" id="{A4EE3B9E-A6B4-4459-90EC-2C54C452BED6}"/>
              </a:ext>
            </a:extLst>
          </p:cNvPr>
          <p:cNvSpPr/>
          <p:nvPr/>
        </p:nvSpPr>
        <p:spPr>
          <a:xfrm rot="5400000">
            <a:off x="11212860" y="186214"/>
            <a:ext cx="1013791" cy="64136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5" name="Shape 175">
            <a:extLst>
              <a:ext uri="{FF2B5EF4-FFF2-40B4-BE49-F238E27FC236}">
                <a16:creationId xmlns:a16="http://schemas.microsoft.com/office/drawing/2014/main" xmlns="" id="{3E1E5D8A-2529-7248-995A-93BE77EC9B28}"/>
              </a:ext>
            </a:extLst>
          </p:cNvPr>
          <p:cNvSpPr/>
          <p:nvPr/>
        </p:nvSpPr>
        <p:spPr>
          <a:xfrm>
            <a:off x="11515647" y="276627"/>
            <a:ext cx="438061" cy="432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Autofit/>
          </a:bodyPr>
          <a:lstStyle>
            <a:lvl1pPr defTabSz="900112">
              <a:lnSpc>
                <a:spcPts val="2000"/>
              </a:lnSpc>
              <a:defRPr sz="1600">
                <a:latin typeface="+mj-lt"/>
                <a:ea typeface="+mj-ea"/>
                <a:cs typeface="+mj-cs"/>
                <a:sym typeface="Akzidenz-Grotesk Pro Regular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162284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1"/>
          <p:cNvSpPr>
            <a:spLocks noChangeArrowheads="1"/>
          </p:cNvSpPr>
          <p:nvPr/>
        </p:nvSpPr>
        <p:spPr bwMode="auto">
          <a:xfrm>
            <a:off x="2015947" y="364672"/>
            <a:ext cx="1080596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algn="ctr"/>
            <a:r>
              <a: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</a:t>
            </a:r>
            <a:endParaRPr lang="ru-RU" sz="2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155575" y="1183072"/>
          <a:ext cx="11711352" cy="32756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19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4795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62381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62381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62381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47152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татья</a:t>
                      </a:r>
                      <a:endParaRPr lang="en-US" sz="1800" b="1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зменения в УК РФ</a:t>
                      </a:r>
                      <a:endParaRPr lang="en-US" sz="1800" b="1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тветственность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1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1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715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1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дно лицо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Группа лиц по предварительному сговору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рганизованная группа в особо крупном размере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469875"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71.1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оизводство, приобретение, хранение, перевозка в целях сбыта или сбыт продовольственных товаров и продукции с использованием заведомо поддельных средств идентификации для маркировки товаров, совершенные в крупном размере.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 400 000 рублей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ли доход за период до 2 лет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ли принудительные работы до 3 лет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ли лишение свободы до 3 лет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 штраф до 80 000 рублей или доход за период до 6 месяцев</a:t>
                      </a:r>
                    </a:p>
                    <a:p>
                      <a:pPr marL="0" algn="ctr" defTabSz="914400" rtl="0" eaLnBrk="1" latinLnBrk="0" hangingPunct="1"/>
                      <a:endParaRPr lang="ru-RU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300 000 - 700 000 рублей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ли доход за период от 1 года до 3 лет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ли принудительные работы до 5 лет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ли лишение свободы до 6 лет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 штраф до 1 000 000 рублей или доход за период до 5 лет или без такового</a:t>
                      </a:r>
                      <a:endParaRPr lang="ru-RU" sz="1400" dirty="0"/>
                    </a:p>
                    <a:p>
                      <a:pPr marL="0" algn="ctr" defTabSz="914400" rtl="0" eaLnBrk="1" latinLnBrk="0" hangingPunct="1"/>
                      <a:endParaRPr lang="ru-RU" sz="1400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400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1" name="Скругленный прямоугольник 8">
            <a:extLst>
              <a:ext uri="{FF2B5EF4-FFF2-40B4-BE49-F238E27FC236}">
                <a16:creationId xmlns:a16="http://schemas.microsoft.com/office/drawing/2014/main" xmlns="" id="{728A4BF9-FD1F-0A48-AAFC-CE090F1E362D}"/>
              </a:ext>
            </a:extLst>
          </p:cNvPr>
          <p:cNvSpPr/>
          <p:nvPr/>
        </p:nvSpPr>
        <p:spPr>
          <a:xfrm>
            <a:off x="259252" y="295487"/>
            <a:ext cx="10659949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lvl="0">
              <a:defRPr/>
            </a:pPr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головная ответственность</a:t>
            </a:r>
          </a:p>
        </p:txBody>
      </p:sp>
      <p:sp>
        <p:nvSpPr>
          <p:cNvPr id="12" name="Rectangle 14">
            <a:extLst>
              <a:ext uri="{FF2B5EF4-FFF2-40B4-BE49-F238E27FC236}">
                <a16:creationId xmlns:a16="http://schemas.microsoft.com/office/drawing/2014/main" xmlns="" id="{A4EE3B9E-A6B4-4459-90EC-2C54C452BED6}"/>
              </a:ext>
            </a:extLst>
          </p:cNvPr>
          <p:cNvSpPr/>
          <p:nvPr/>
        </p:nvSpPr>
        <p:spPr>
          <a:xfrm rot="5400000">
            <a:off x="11207791" y="186213"/>
            <a:ext cx="1013791" cy="64136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3" name="Shape 175">
            <a:extLst>
              <a:ext uri="{FF2B5EF4-FFF2-40B4-BE49-F238E27FC236}">
                <a16:creationId xmlns:a16="http://schemas.microsoft.com/office/drawing/2014/main" xmlns="" id="{3E1E5D8A-2529-7248-995A-93BE77EC9B28}"/>
              </a:ext>
            </a:extLst>
          </p:cNvPr>
          <p:cNvSpPr/>
          <p:nvPr/>
        </p:nvSpPr>
        <p:spPr>
          <a:xfrm>
            <a:off x="11510578" y="276626"/>
            <a:ext cx="438061" cy="432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Autofit/>
          </a:bodyPr>
          <a:lstStyle>
            <a:lvl1pPr defTabSz="900112">
              <a:lnSpc>
                <a:spcPts val="2000"/>
              </a:lnSpc>
              <a:defRPr sz="1600">
                <a:latin typeface="+mj-lt"/>
                <a:ea typeface="+mj-ea"/>
                <a:cs typeface="+mj-cs"/>
                <a:sym typeface="Akzidenz-Grotesk Pro Regular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218528390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16" hidden="1">
            <a:extLst>
              <a:ext uri="{FF2B5EF4-FFF2-40B4-BE49-F238E27FC236}">
                <a16:creationId xmlns:a16="http://schemas.microsoft.com/office/drawing/2014/main" xmlns="" id="{0B4C4191-27E7-6447-A53B-FD7355147B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17" name="Объект 16" hidden="1">
                        <a:extLst>
                          <a:ext uri="{FF2B5EF4-FFF2-40B4-BE49-F238E27FC236}">
                            <a16:creationId xmlns:a16="http://schemas.microsoft.com/office/drawing/2014/main" xmlns="" id="{0B4C4191-27E7-6447-A53B-FD7355147B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Скругленный прямоугольник 32">
            <a:extLst>
              <a:ext uri="{FF2B5EF4-FFF2-40B4-BE49-F238E27FC236}">
                <a16:creationId xmlns:a16="http://schemas.microsoft.com/office/drawing/2014/main" xmlns="" id="{908D158E-848E-2A47-BDFB-82AC3A0A0D79}"/>
              </a:ext>
            </a:extLst>
          </p:cNvPr>
          <p:cNvSpPr/>
          <p:nvPr/>
        </p:nvSpPr>
        <p:spPr>
          <a:xfrm>
            <a:off x="543451" y="242234"/>
            <a:ext cx="10521713" cy="626992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роки применения ответственности (в части </a:t>
            </a:r>
            <a:r>
              <a:rPr lang="ru-RU" sz="2200" b="1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егового</a:t>
            </a:r>
            <a:r>
              <a:rPr lang="ru-RU" sz="2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ива)</a:t>
            </a:r>
            <a:endParaRPr lang="en-US" sz="2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xmlns="" id="{DE7499C6-B203-0947-AC70-3B85AC682772}"/>
              </a:ext>
            </a:extLst>
          </p:cNvPr>
          <p:cNvSpPr/>
          <p:nvPr/>
        </p:nvSpPr>
        <p:spPr>
          <a:xfrm>
            <a:off x="566959" y="1804767"/>
            <a:ext cx="1288928" cy="1230154"/>
          </a:xfrm>
          <a:prstGeom prst="roundRect">
            <a:avLst>
              <a:gd name="adj" fmla="val 7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xmlns="" id="{4EB04496-D194-EA4B-9E19-43559D4D16BD}"/>
              </a:ext>
            </a:extLst>
          </p:cNvPr>
          <p:cNvSpPr txBox="1"/>
          <p:nvPr/>
        </p:nvSpPr>
        <p:spPr>
          <a:xfrm>
            <a:off x="570180" y="2487131"/>
            <a:ext cx="128570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ИЗВОДИТЕЛИ,</a:t>
            </a: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МПОРТЕРЫ</a:t>
            </a:r>
          </a:p>
        </p:txBody>
      </p:sp>
      <p:pic>
        <p:nvPicPr>
          <p:cNvPr id="97" name="Picture 96" descr="Icon&#10;&#10;Description automatically generated">
            <a:extLst>
              <a:ext uri="{FF2B5EF4-FFF2-40B4-BE49-F238E27FC236}">
                <a16:creationId xmlns:a16="http://schemas.microsoft.com/office/drawing/2014/main" xmlns="" id="{4B61E4ED-5B0F-F14A-8714-45409464C47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5316" y="1850250"/>
            <a:ext cx="594000" cy="594000"/>
          </a:xfrm>
          <a:prstGeom prst="rect">
            <a:avLst/>
          </a:prstGeom>
        </p:spPr>
      </p:pic>
      <p:sp>
        <p:nvSpPr>
          <p:cNvPr id="116" name="Rounded Rectangle 115">
            <a:extLst>
              <a:ext uri="{FF2B5EF4-FFF2-40B4-BE49-F238E27FC236}">
                <a16:creationId xmlns:a16="http://schemas.microsoft.com/office/drawing/2014/main" xmlns="" id="{EF39AA6B-E5D6-F340-9B48-5EB9824456F0}"/>
              </a:ext>
            </a:extLst>
          </p:cNvPr>
          <p:cNvSpPr/>
          <p:nvPr/>
        </p:nvSpPr>
        <p:spPr>
          <a:xfrm>
            <a:off x="573160" y="4308019"/>
            <a:ext cx="1315008" cy="1116605"/>
          </a:xfrm>
          <a:prstGeom prst="roundRect">
            <a:avLst>
              <a:gd name="adj" fmla="val 7708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4" name="Picture 103">
            <a:extLst>
              <a:ext uri="{FF2B5EF4-FFF2-40B4-BE49-F238E27FC236}">
                <a16:creationId xmlns:a16="http://schemas.microsoft.com/office/drawing/2014/main" xmlns="" id="{F8DAED5E-1432-2242-A555-A885D3CCEB1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116" y="4424291"/>
            <a:ext cx="595041" cy="595041"/>
          </a:xfrm>
          <a:prstGeom prst="rect">
            <a:avLst/>
          </a:prstGeom>
        </p:spPr>
      </p:pic>
      <p:sp>
        <p:nvSpPr>
          <p:cNvPr id="125" name="TextBox 124">
            <a:extLst>
              <a:ext uri="{FF2B5EF4-FFF2-40B4-BE49-F238E27FC236}">
                <a16:creationId xmlns:a16="http://schemas.microsoft.com/office/drawing/2014/main" xmlns="" id="{99CE1142-B5AF-E840-8161-3A860F619D9A}"/>
              </a:ext>
            </a:extLst>
          </p:cNvPr>
          <p:cNvSpPr txBox="1"/>
          <p:nvPr/>
        </p:nvSpPr>
        <p:spPr>
          <a:xfrm>
            <a:off x="763376" y="5104818"/>
            <a:ext cx="914817" cy="248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ОЗНИЦА</a:t>
            </a:r>
          </a:p>
        </p:txBody>
      </p:sp>
      <p:cxnSp>
        <p:nvCxnSpPr>
          <p:cNvPr id="124" name="Straight Connector 7">
            <a:extLst>
              <a:ext uri="{FF2B5EF4-FFF2-40B4-BE49-F238E27FC236}">
                <a16:creationId xmlns:a16="http://schemas.microsoft.com/office/drawing/2014/main" xmlns="" id="{38101BAB-8FC2-D74C-9A71-AEF1B192888A}"/>
              </a:ext>
            </a:extLst>
          </p:cNvPr>
          <p:cNvCxnSpPr>
            <a:cxnSpLocks/>
          </p:cNvCxnSpPr>
          <p:nvPr/>
        </p:nvCxnSpPr>
        <p:spPr>
          <a:xfrm>
            <a:off x="2293668" y="3757647"/>
            <a:ext cx="9528877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ounded Rectangle 74">
            <a:extLst>
              <a:ext uri="{FF2B5EF4-FFF2-40B4-BE49-F238E27FC236}">
                <a16:creationId xmlns:a16="http://schemas.microsoft.com/office/drawing/2014/main" xmlns="" id="{D8403671-E8BE-4577-A21D-DE257264AC8B}"/>
              </a:ext>
            </a:extLst>
          </p:cNvPr>
          <p:cNvSpPr/>
          <p:nvPr/>
        </p:nvSpPr>
        <p:spPr>
          <a:xfrm>
            <a:off x="3731853" y="1794435"/>
            <a:ext cx="1904197" cy="626992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личие маркировки </a:t>
            </a:r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егового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ива, требующего маркировки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Rounded Rectangle 74">
            <a:extLst>
              <a:ext uri="{FF2B5EF4-FFF2-40B4-BE49-F238E27FC236}">
                <a16:creationId xmlns:a16="http://schemas.microsoft.com/office/drawing/2014/main" xmlns="" id="{F72C29CE-F24E-473C-D049-60C778FE0C90}"/>
              </a:ext>
            </a:extLst>
          </p:cNvPr>
          <p:cNvSpPr/>
          <p:nvPr/>
        </p:nvSpPr>
        <p:spPr>
          <a:xfrm>
            <a:off x="2425586" y="3604236"/>
            <a:ext cx="1433267" cy="24440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 апреля 2023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Rounded Rectangle 117">
            <a:extLst>
              <a:ext uri="{FF2B5EF4-FFF2-40B4-BE49-F238E27FC236}">
                <a16:creationId xmlns:a16="http://schemas.microsoft.com/office/drawing/2014/main" xmlns="" id="{E34A800C-2D0B-DDF7-8B3D-ACE2CD7ADCFD}"/>
              </a:ext>
            </a:extLst>
          </p:cNvPr>
          <p:cNvSpPr/>
          <p:nvPr/>
        </p:nvSpPr>
        <p:spPr>
          <a:xfrm>
            <a:off x="5638800" y="3631124"/>
            <a:ext cx="1451223" cy="25304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5 января 2024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Rounded Rectangle 117">
            <a:extLst>
              <a:ext uri="{FF2B5EF4-FFF2-40B4-BE49-F238E27FC236}">
                <a16:creationId xmlns:a16="http://schemas.microsoft.com/office/drawing/2014/main" xmlns="" id="{228A626B-B37D-94D3-19E0-DF1B679B38F7}"/>
              </a:ext>
            </a:extLst>
          </p:cNvPr>
          <p:cNvSpPr/>
          <p:nvPr/>
        </p:nvSpPr>
        <p:spPr>
          <a:xfrm>
            <a:off x="8853523" y="3613687"/>
            <a:ext cx="1451223" cy="25304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 апреля 2024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Rounded Rectangle 74">
            <a:extLst>
              <a:ext uri="{FF2B5EF4-FFF2-40B4-BE49-F238E27FC236}">
                <a16:creationId xmlns:a16="http://schemas.microsoft.com/office/drawing/2014/main" xmlns="" id="{E48CFE82-0A87-A372-2832-674768F9E8EB}"/>
              </a:ext>
            </a:extLst>
          </p:cNvPr>
          <p:cNvSpPr/>
          <p:nvPr/>
        </p:nvSpPr>
        <p:spPr>
          <a:xfrm>
            <a:off x="3731852" y="2578861"/>
            <a:ext cx="1904197" cy="82086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нота, своевременность, достоверность передаваемых сведений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Rounded Rectangle 74">
            <a:extLst>
              <a:ext uri="{FF2B5EF4-FFF2-40B4-BE49-F238E27FC236}">
                <a16:creationId xmlns:a16="http://schemas.microsoft.com/office/drawing/2014/main" xmlns="" id="{9D0B078A-BD63-0BB0-A9A3-7ABE3B75CF4B}"/>
              </a:ext>
            </a:extLst>
          </p:cNvPr>
          <p:cNvSpPr/>
          <p:nvPr/>
        </p:nvSpPr>
        <p:spPr>
          <a:xfrm>
            <a:off x="3716333" y="4272662"/>
            <a:ext cx="1919716" cy="626992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личие маркировки </a:t>
            </a:r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егового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ива, требующего маркировки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Rounded Rectangle 74">
            <a:extLst>
              <a:ext uri="{FF2B5EF4-FFF2-40B4-BE49-F238E27FC236}">
                <a16:creationId xmlns:a16="http://schemas.microsoft.com/office/drawing/2014/main" xmlns="" id="{B36834F6-9121-7ECB-F7EF-1B9651880B68}"/>
              </a:ext>
            </a:extLst>
          </p:cNvPr>
          <p:cNvSpPr/>
          <p:nvPr/>
        </p:nvSpPr>
        <p:spPr>
          <a:xfrm>
            <a:off x="7016292" y="4991866"/>
            <a:ext cx="1919717" cy="854539"/>
          </a:xfrm>
          <a:prstGeom prst="roundRect">
            <a:avLst>
              <a:gd name="adj" fmla="val 22486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нота, своевременность, достоверность передаваемых сведений</a:t>
            </a:r>
            <a:endParaRPr lang="x-none" sz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ounded Rectangle 74">
            <a:extLst>
              <a:ext uri="{FF2B5EF4-FFF2-40B4-BE49-F238E27FC236}">
                <a16:creationId xmlns:a16="http://schemas.microsoft.com/office/drawing/2014/main" xmlns="" id="{3167A1AC-51FC-87FF-33FC-52C14BC2D01C}"/>
              </a:ext>
            </a:extLst>
          </p:cNvPr>
          <p:cNvSpPr/>
          <p:nvPr/>
        </p:nvSpPr>
        <p:spPr>
          <a:xfrm>
            <a:off x="9915805" y="1780667"/>
            <a:ext cx="1904197" cy="626992"/>
          </a:xfrm>
          <a:prstGeom prst="roundRect">
            <a:avLst>
              <a:gd name="adj" fmla="val 22486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личие маркировки всего </a:t>
            </a:r>
            <a:r>
              <a:rPr lang="ru-RU" sz="120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егового</a:t>
            </a:r>
            <a:r>
              <a:rPr lang="ru-RU" sz="12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ива</a:t>
            </a:r>
            <a:endParaRPr lang="x-none" sz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Rounded Rectangle 74">
            <a:extLst>
              <a:ext uri="{FF2B5EF4-FFF2-40B4-BE49-F238E27FC236}">
                <a16:creationId xmlns:a16="http://schemas.microsoft.com/office/drawing/2014/main" xmlns="" id="{84CA15F4-D90A-AB76-ED06-D6B36639F52B}"/>
              </a:ext>
            </a:extLst>
          </p:cNvPr>
          <p:cNvSpPr/>
          <p:nvPr/>
        </p:nvSpPr>
        <p:spPr>
          <a:xfrm>
            <a:off x="9915804" y="2565093"/>
            <a:ext cx="1904197" cy="82086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нота, своевременность, достоверность передаваемых сведений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ounded Rectangle 74">
            <a:extLst>
              <a:ext uri="{FF2B5EF4-FFF2-40B4-BE49-F238E27FC236}">
                <a16:creationId xmlns:a16="http://schemas.microsoft.com/office/drawing/2014/main" xmlns="" id="{7899D907-B1D8-9633-C603-586AFC9539B9}"/>
              </a:ext>
            </a:extLst>
          </p:cNvPr>
          <p:cNvSpPr/>
          <p:nvPr/>
        </p:nvSpPr>
        <p:spPr>
          <a:xfrm>
            <a:off x="7016292" y="4277130"/>
            <a:ext cx="1919716" cy="626992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личие маркировки </a:t>
            </a:r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егового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ива, требующего маркировки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Rounded Rectangle 74">
            <a:extLst>
              <a:ext uri="{FF2B5EF4-FFF2-40B4-BE49-F238E27FC236}">
                <a16:creationId xmlns:a16="http://schemas.microsoft.com/office/drawing/2014/main" xmlns="" id="{B40A88B1-A84E-DFBC-8ACE-1A0A23434025}"/>
              </a:ext>
            </a:extLst>
          </p:cNvPr>
          <p:cNvSpPr/>
          <p:nvPr/>
        </p:nvSpPr>
        <p:spPr>
          <a:xfrm>
            <a:off x="9915805" y="4158713"/>
            <a:ext cx="1904197" cy="626992"/>
          </a:xfrm>
          <a:prstGeom prst="roundRect">
            <a:avLst>
              <a:gd name="adj" fmla="val 22486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личие маркировки всего </a:t>
            </a:r>
            <a:r>
              <a:rPr lang="ru-RU" sz="120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егового</a:t>
            </a:r>
            <a:r>
              <a:rPr lang="ru-RU" sz="12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ива</a:t>
            </a:r>
            <a:endParaRPr lang="x-none" sz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Rounded Rectangle 74">
            <a:extLst>
              <a:ext uri="{FF2B5EF4-FFF2-40B4-BE49-F238E27FC236}">
                <a16:creationId xmlns:a16="http://schemas.microsoft.com/office/drawing/2014/main" xmlns="" id="{4973DED5-7FB9-D69B-0163-E89A9F2E9E25}"/>
              </a:ext>
            </a:extLst>
          </p:cNvPr>
          <p:cNvSpPr/>
          <p:nvPr/>
        </p:nvSpPr>
        <p:spPr>
          <a:xfrm>
            <a:off x="9915804" y="4943139"/>
            <a:ext cx="1904197" cy="82086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нота, своевременность, достоверность передаваемых сведений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Крест 25">
            <a:extLst>
              <a:ext uri="{FF2B5EF4-FFF2-40B4-BE49-F238E27FC236}">
                <a16:creationId xmlns:a16="http://schemas.microsoft.com/office/drawing/2014/main" xmlns="" id="{75DB3E3E-8A77-B519-7180-82EA12200B67}"/>
              </a:ext>
            </a:extLst>
          </p:cNvPr>
          <p:cNvSpPr/>
          <p:nvPr/>
        </p:nvSpPr>
        <p:spPr>
          <a:xfrm>
            <a:off x="6571737" y="5220389"/>
            <a:ext cx="330200" cy="323509"/>
          </a:xfrm>
          <a:prstGeom prst="plus">
            <a:avLst>
              <a:gd name="adj" fmla="val 43230"/>
            </a:avLst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Крест 26">
            <a:extLst>
              <a:ext uri="{FF2B5EF4-FFF2-40B4-BE49-F238E27FC236}">
                <a16:creationId xmlns:a16="http://schemas.microsoft.com/office/drawing/2014/main" xmlns="" id="{8761D4A2-6A23-F294-C13B-11DF15F7FB93}"/>
              </a:ext>
            </a:extLst>
          </p:cNvPr>
          <p:cNvSpPr/>
          <p:nvPr/>
        </p:nvSpPr>
        <p:spPr>
          <a:xfrm>
            <a:off x="9502804" y="4295590"/>
            <a:ext cx="330200" cy="323509"/>
          </a:xfrm>
          <a:prstGeom prst="plus">
            <a:avLst>
              <a:gd name="adj" fmla="val 43230"/>
            </a:avLst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Крест 27">
            <a:extLst>
              <a:ext uri="{FF2B5EF4-FFF2-40B4-BE49-F238E27FC236}">
                <a16:creationId xmlns:a16="http://schemas.microsoft.com/office/drawing/2014/main" xmlns="" id="{F60DCABF-EDF2-09F6-EE70-F08D80184A2F}"/>
              </a:ext>
            </a:extLst>
          </p:cNvPr>
          <p:cNvSpPr/>
          <p:nvPr/>
        </p:nvSpPr>
        <p:spPr>
          <a:xfrm>
            <a:off x="9534470" y="1946176"/>
            <a:ext cx="330200" cy="323509"/>
          </a:xfrm>
          <a:prstGeom prst="plus">
            <a:avLst>
              <a:gd name="adj" fmla="val 43230"/>
            </a:avLst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Rounded Rectangle 74">
            <a:extLst>
              <a:ext uri="{FF2B5EF4-FFF2-40B4-BE49-F238E27FC236}">
                <a16:creationId xmlns:a16="http://schemas.microsoft.com/office/drawing/2014/main" xmlns="" id="{A879EDAA-1599-56C5-18F8-4B3FDED5234F}"/>
              </a:ext>
            </a:extLst>
          </p:cNvPr>
          <p:cNvSpPr/>
          <p:nvPr/>
        </p:nvSpPr>
        <p:spPr>
          <a:xfrm>
            <a:off x="7008373" y="1808773"/>
            <a:ext cx="1904197" cy="626992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личие маркировки </a:t>
            </a:r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егового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ива, требующего маркировки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Rounded Rectangle 74">
            <a:extLst>
              <a:ext uri="{FF2B5EF4-FFF2-40B4-BE49-F238E27FC236}">
                <a16:creationId xmlns:a16="http://schemas.microsoft.com/office/drawing/2014/main" xmlns="" id="{5DF948FC-E4A8-AAEC-711E-5517209819F0}"/>
              </a:ext>
            </a:extLst>
          </p:cNvPr>
          <p:cNvSpPr/>
          <p:nvPr/>
        </p:nvSpPr>
        <p:spPr>
          <a:xfrm>
            <a:off x="7008372" y="2593199"/>
            <a:ext cx="1904197" cy="82086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нота, своевременность, достоверность передаваемых сведений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Rectangle 14">
            <a:extLst>
              <a:ext uri="{FF2B5EF4-FFF2-40B4-BE49-F238E27FC236}">
                <a16:creationId xmlns:a16="http://schemas.microsoft.com/office/drawing/2014/main" xmlns="" id="{6AAF08D4-669F-6419-3178-D2299EBD65C2}"/>
              </a:ext>
            </a:extLst>
          </p:cNvPr>
          <p:cNvSpPr/>
          <p:nvPr/>
        </p:nvSpPr>
        <p:spPr>
          <a:xfrm rot="5400000">
            <a:off x="11207791" y="186213"/>
            <a:ext cx="1013791" cy="64136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2" name="Shape 175">
            <a:extLst>
              <a:ext uri="{FF2B5EF4-FFF2-40B4-BE49-F238E27FC236}">
                <a16:creationId xmlns:a16="http://schemas.microsoft.com/office/drawing/2014/main" xmlns="" id="{DD070DB5-E4A8-DFAD-EC8D-34D4C25B8295}"/>
              </a:ext>
            </a:extLst>
          </p:cNvPr>
          <p:cNvSpPr/>
          <p:nvPr/>
        </p:nvSpPr>
        <p:spPr>
          <a:xfrm>
            <a:off x="11510578" y="276626"/>
            <a:ext cx="438061" cy="432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Autofit/>
          </a:bodyPr>
          <a:lstStyle>
            <a:lvl1pPr defTabSz="900112">
              <a:lnSpc>
                <a:spcPts val="2000"/>
              </a:lnSpc>
              <a:defRPr sz="1600">
                <a:latin typeface="+mj-lt"/>
                <a:ea typeface="+mj-ea"/>
                <a:cs typeface="+mj-cs"/>
                <a:sym typeface="Akzidenz-Grotesk Pro Regular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11287865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ottle, indoor, counter, alcohol&#10;&#10;Description automatically generated">
            <a:extLst>
              <a:ext uri="{FF2B5EF4-FFF2-40B4-BE49-F238E27FC236}">
                <a16:creationId xmlns:a16="http://schemas.microsoft.com/office/drawing/2014/main" xmlns="" id="{6AAF634C-FC76-1FCB-1DD3-364FEFB786F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31C4D91-3018-8449-6333-857B0707B8E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3666A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3129566" y="2844800"/>
            <a:ext cx="5932868" cy="11684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учение маркировке и прямая связь с ЦРПТ</a:t>
            </a:r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45459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щая схема работы системы маркировки и прослеживаемости в ТГ Пиво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9755DD04-B3F3-AA93-10C6-634B0F9472B4}"/>
              </a:ext>
            </a:extLst>
          </p:cNvPr>
          <p:cNvSpPr/>
          <p:nvPr/>
        </p:nvSpPr>
        <p:spPr>
          <a:xfrm>
            <a:off x="0" y="4733364"/>
            <a:ext cx="12192000" cy="2124635"/>
          </a:xfrm>
          <a:prstGeom prst="rect">
            <a:avLst/>
          </a:prstGeom>
          <a:solidFill>
            <a:srgbClr val="63666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90278FA9-665A-EF96-0DCB-38D6819E4B22}"/>
              </a:ext>
            </a:extLst>
          </p:cNvPr>
          <p:cNvGrpSpPr/>
          <p:nvPr/>
        </p:nvGrpSpPr>
        <p:grpSpPr>
          <a:xfrm>
            <a:off x="1463744" y="5374061"/>
            <a:ext cx="9264513" cy="843240"/>
            <a:chOff x="1571653" y="5380182"/>
            <a:chExt cx="9264513" cy="843240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xmlns="" id="{D19B3ED1-CF62-A5F6-3D12-26F4BD766A6F}"/>
                </a:ext>
              </a:extLst>
            </p:cNvPr>
            <p:cNvSpPr txBox="1"/>
            <p:nvPr/>
          </p:nvSpPr>
          <p:spPr>
            <a:xfrm>
              <a:off x="2920768" y="5380182"/>
              <a:ext cx="610496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Первый этап обязательной маркировки пива, с 2023 года</a:t>
              </a: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xmlns="" id="{18EE340D-164B-0934-6F43-D9692B5E64C0}"/>
                </a:ext>
              </a:extLst>
            </p:cNvPr>
            <p:cNvSpPr/>
            <p:nvPr/>
          </p:nvSpPr>
          <p:spPr>
            <a:xfrm>
              <a:off x="1571653" y="5380182"/>
              <a:ext cx="359764" cy="359764"/>
            </a:xfrm>
            <a:prstGeom prst="ellipse">
              <a:avLst/>
            </a:prstGeom>
            <a:solidFill>
              <a:srgbClr val="63666A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3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1</a:t>
              </a:r>
              <a:endParaRPr lang="x-none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xmlns="" id="{B13A4647-5A33-7959-C300-A820AFACDCC7}"/>
                </a:ext>
              </a:extLst>
            </p:cNvPr>
            <p:cNvSpPr/>
            <p:nvPr/>
          </p:nvSpPr>
          <p:spPr>
            <a:xfrm>
              <a:off x="2021358" y="5380182"/>
              <a:ext cx="359764" cy="359764"/>
            </a:xfrm>
            <a:prstGeom prst="ellipse">
              <a:avLst/>
            </a:prstGeom>
            <a:solidFill>
              <a:srgbClr val="63666A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3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3</a:t>
              </a:r>
              <a:endParaRPr lang="x-none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xmlns="" id="{E4C00144-A65B-AD2B-25F9-5D5B57ECCF3E}"/>
                </a:ext>
              </a:extLst>
            </p:cNvPr>
            <p:cNvSpPr/>
            <p:nvPr/>
          </p:nvSpPr>
          <p:spPr>
            <a:xfrm>
              <a:off x="2471063" y="5380182"/>
              <a:ext cx="359764" cy="359764"/>
            </a:xfrm>
            <a:prstGeom prst="ellipse">
              <a:avLst/>
            </a:prstGeom>
            <a:solidFill>
              <a:srgbClr val="63666A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3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4</a:t>
              </a:r>
              <a:endParaRPr lang="x-none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xmlns="" id="{28FCE3C7-2725-AE6D-35BE-9AA835CAFF90}"/>
                </a:ext>
              </a:extLst>
            </p:cNvPr>
            <p:cNvSpPr/>
            <p:nvPr/>
          </p:nvSpPr>
          <p:spPr>
            <a:xfrm>
              <a:off x="2471063" y="5863658"/>
              <a:ext cx="359764" cy="359764"/>
            </a:xfrm>
            <a:prstGeom prst="ellipse">
              <a:avLst/>
            </a:prstGeom>
            <a:solidFill>
              <a:srgbClr val="63666A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3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2</a:t>
              </a:r>
              <a:endParaRPr lang="x-none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xmlns="" id="{A0B8FA2B-EA8B-8539-10A5-607A1A17844C}"/>
                </a:ext>
              </a:extLst>
            </p:cNvPr>
            <p:cNvSpPr txBox="1"/>
            <p:nvPr/>
          </p:nvSpPr>
          <p:spPr>
            <a:xfrm>
              <a:off x="2920768" y="5842637"/>
              <a:ext cx="791539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600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Второй этап обязательной маркировки пива, интеграция ЕГАИС после 2025 года</a:t>
              </a:r>
              <a:endParaRPr lang="en-US" sz="16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1" name="Rectangle 86">
            <a:extLst>
              <a:ext uri="{FF2B5EF4-FFF2-40B4-BE49-F238E27FC236}">
                <a16:creationId xmlns:a16="http://schemas.microsoft.com/office/drawing/2014/main" xmlns="" id="{16B4025C-359A-4625-C7F5-EE3C6767D329}"/>
              </a:ext>
            </a:extLst>
          </p:cNvPr>
          <p:cNvSpPr/>
          <p:nvPr/>
        </p:nvSpPr>
        <p:spPr>
          <a:xfrm>
            <a:off x="516000" y="2889539"/>
            <a:ext cx="2591646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изводитель наносит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цифровой код на товар</a:t>
            </a:r>
            <a:endParaRPr lang="en-US" sz="11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Rectangle 96">
            <a:extLst>
              <a:ext uri="{FF2B5EF4-FFF2-40B4-BE49-F238E27FC236}">
                <a16:creationId xmlns:a16="http://schemas.microsoft.com/office/drawing/2014/main" xmlns="" id="{29ED43FF-A340-65A7-D590-5789EE637C9D}"/>
              </a:ext>
            </a:extLst>
          </p:cNvPr>
          <p:cNvSpPr/>
          <p:nvPr/>
        </p:nvSpPr>
        <p:spPr>
          <a:xfrm>
            <a:off x="3372118" y="2889539"/>
            <a:ext cx="2591646" cy="5078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</a:rPr>
              <a:t>Весь путь товара фиксируется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</a:rPr>
              <a:t>на каждом этапе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</a:rPr>
              <a:t>(первый этап – только в ЕГАИС)</a:t>
            </a:r>
            <a:endParaRPr lang="en-US" sz="1100" dirty="0">
              <a:solidFill>
                <a:srgbClr val="6D6E71"/>
              </a:solidFill>
              <a:latin typeface="Segoe UI" panose="020B0502040204020203" pitchFamily="34" charset="0"/>
            </a:endParaRPr>
          </a:p>
        </p:txBody>
      </p:sp>
      <p:sp>
        <p:nvSpPr>
          <p:cNvPr id="14" name="Rectangle 97">
            <a:extLst>
              <a:ext uri="{FF2B5EF4-FFF2-40B4-BE49-F238E27FC236}">
                <a16:creationId xmlns:a16="http://schemas.microsoft.com/office/drawing/2014/main" xmlns="" id="{2176310B-3C96-2309-94B6-60A45703B38C}"/>
              </a:ext>
            </a:extLst>
          </p:cNvPr>
          <p:cNvSpPr/>
          <p:nvPr/>
        </p:nvSpPr>
        <p:spPr>
          <a:xfrm>
            <a:off x="6228236" y="2889539"/>
            <a:ext cx="2591646" cy="5078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газин сообщает о подключении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розливе кеги, или о продаже упакованного пива через ККТ</a:t>
            </a:r>
          </a:p>
        </p:txBody>
      </p:sp>
      <p:sp>
        <p:nvSpPr>
          <p:cNvPr id="15" name="Rectangle 99">
            <a:extLst>
              <a:ext uri="{FF2B5EF4-FFF2-40B4-BE49-F238E27FC236}">
                <a16:creationId xmlns:a16="http://schemas.microsoft.com/office/drawing/2014/main" xmlns="" id="{FE0209DE-E2EE-8FFB-27D4-E96B2C8743EA}"/>
              </a:ext>
            </a:extLst>
          </p:cNvPr>
          <p:cNvSpPr/>
          <p:nvPr/>
        </p:nvSpPr>
        <p:spPr>
          <a:xfrm>
            <a:off x="9084354" y="2889539"/>
            <a:ext cx="2591646" cy="5078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мобильном приложении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естный Знак есть вся правда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 товаре</a:t>
            </a:r>
            <a:endParaRPr lang="en-US" sz="11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8" name="Picture 17" descr="A picture containing text, toy&#10;&#10;Description automatically generated">
            <a:extLst>
              <a:ext uri="{FF2B5EF4-FFF2-40B4-BE49-F238E27FC236}">
                <a16:creationId xmlns:a16="http://schemas.microsoft.com/office/drawing/2014/main" xmlns="" id="{C61EDC1D-92D7-1F2C-6BB0-E153D4E726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1148" y="1575842"/>
            <a:ext cx="1273585" cy="1080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A491C249-224B-E15E-5BF7-21F328B695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4059" y="1619402"/>
            <a:ext cx="1260000" cy="99288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A4BB433C-5F13-B680-3BFA-A83D563C910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40176" y="1575842"/>
            <a:ext cx="1080000" cy="10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A1BC3DDB-C5B2-5591-4951-A520F9AFCE8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7823" y="1521842"/>
            <a:ext cx="1188000" cy="1188000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xmlns="" id="{97048498-9768-8E9C-5BE2-2357797B9204}"/>
              </a:ext>
            </a:extLst>
          </p:cNvPr>
          <p:cNvGrpSpPr/>
          <p:nvPr/>
        </p:nvGrpSpPr>
        <p:grpSpPr>
          <a:xfrm>
            <a:off x="2994556" y="1753756"/>
            <a:ext cx="490653" cy="724172"/>
            <a:chOff x="2994556" y="1985670"/>
            <a:chExt cx="490653" cy="724172"/>
          </a:xfrm>
        </p:grpSpPr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xmlns="" id="{B0D13BB0-13B0-7797-3892-BEE6BF86307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3193609" y="1985670"/>
              <a:ext cx="291600" cy="724172"/>
            </a:xfrm>
            <a:prstGeom prst="rect">
              <a:avLst/>
            </a:prstGeom>
          </p:spPr>
        </p:pic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xmlns="" id="{EAAD59DB-A734-7651-60E8-D74E6B3815A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2994556" y="1985670"/>
              <a:ext cx="291600" cy="724172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1740919D-C939-8090-EA71-3325DB786BA9}"/>
              </a:ext>
            </a:extLst>
          </p:cNvPr>
          <p:cNvGrpSpPr/>
          <p:nvPr/>
        </p:nvGrpSpPr>
        <p:grpSpPr>
          <a:xfrm>
            <a:off x="5850674" y="1753756"/>
            <a:ext cx="490653" cy="724172"/>
            <a:chOff x="3027265" y="1888110"/>
            <a:chExt cx="490653" cy="724172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xmlns="" id="{C49A5D2B-38B0-4940-CEC5-92255D9B736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3226318" y="1888110"/>
              <a:ext cx="291600" cy="724172"/>
            </a:xfrm>
            <a:prstGeom prst="rect">
              <a:avLst/>
            </a:prstGeom>
          </p:spPr>
        </p:pic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xmlns="" id="{C8BE0255-F943-7B8D-116A-368F7E75379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3027265" y="1888110"/>
              <a:ext cx="291600" cy="724172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xmlns="" id="{AE43A84C-D3BA-2381-A958-4EA02EAF199A}"/>
              </a:ext>
            </a:extLst>
          </p:cNvPr>
          <p:cNvGrpSpPr/>
          <p:nvPr/>
        </p:nvGrpSpPr>
        <p:grpSpPr>
          <a:xfrm>
            <a:off x="8706792" y="1753756"/>
            <a:ext cx="490653" cy="724172"/>
            <a:chOff x="8706792" y="1985670"/>
            <a:chExt cx="490653" cy="724172"/>
          </a:xfrm>
        </p:grpSpPr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xmlns="" id="{3BC9AB49-094E-95CF-6F3F-F6832EFC235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8905845" y="1985670"/>
              <a:ext cx="291600" cy="724172"/>
            </a:xfrm>
            <a:prstGeom prst="rect">
              <a:avLst/>
            </a:prstGeom>
          </p:spPr>
        </p:pic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xmlns="" id="{F7EBAA49-F38B-8892-041B-1164ACCB6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8706792" y="1985670"/>
              <a:ext cx="291600" cy="724172"/>
            </a:xfrm>
            <a:prstGeom prst="rect">
              <a:avLst/>
            </a:prstGeom>
          </p:spPr>
        </p:pic>
      </p:grpSp>
      <p:sp>
        <p:nvSpPr>
          <p:cNvPr id="39" name="Oval 38">
            <a:extLst>
              <a:ext uri="{FF2B5EF4-FFF2-40B4-BE49-F238E27FC236}">
                <a16:creationId xmlns:a16="http://schemas.microsoft.com/office/drawing/2014/main" xmlns="" id="{4AA4B5A2-8D91-7538-38FF-4DB29F078FCB}"/>
              </a:ext>
            </a:extLst>
          </p:cNvPr>
          <p:cNvSpPr/>
          <p:nvPr/>
        </p:nvSpPr>
        <p:spPr>
          <a:xfrm>
            <a:off x="1631941" y="3429308"/>
            <a:ext cx="359764" cy="359764"/>
          </a:xfrm>
          <a:prstGeom prst="ellipse">
            <a:avLst/>
          </a:prstGeom>
          <a:solidFill>
            <a:srgbClr val="63666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x-none" sz="13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xmlns="" id="{89B2E5A1-9EC4-A232-E24F-EDF40E3F9D33}"/>
              </a:ext>
            </a:extLst>
          </p:cNvPr>
          <p:cNvSpPr/>
          <p:nvPr/>
        </p:nvSpPr>
        <p:spPr>
          <a:xfrm>
            <a:off x="4488058" y="3429308"/>
            <a:ext cx="359764" cy="359764"/>
          </a:xfrm>
          <a:prstGeom prst="ellipse">
            <a:avLst/>
          </a:prstGeom>
          <a:solidFill>
            <a:srgbClr val="63666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r>
              <a:rPr lang="en-US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</a:t>
            </a:r>
            <a:endParaRPr lang="x-none" sz="13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xmlns="" id="{09557B97-C977-9D0E-9F1D-D4B0A8367591}"/>
              </a:ext>
            </a:extLst>
          </p:cNvPr>
          <p:cNvSpPr/>
          <p:nvPr/>
        </p:nvSpPr>
        <p:spPr>
          <a:xfrm>
            <a:off x="7344175" y="3429308"/>
            <a:ext cx="359764" cy="359764"/>
          </a:xfrm>
          <a:prstGeom prst="ellipse">
            <a:avLst/>
          </a:prstGeom>
          <a:solidFill>
            <a:srgbClr val="63666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x-none" sz="13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xmlns="" id="{7CD1BDAE-1748-AC27-EED8-02A26FBE0369}"/>
              </a:ext>
            </a:extLst>
          </p:cNvPr>
          <p:cNvSpPr/>
          <p:nvPr/>
        </p:nvSpPr>
        <p:spPr>
          <a:xfrm>
            <a:off x="10200292" y="3429308"/>
            <a:ext cx="359764" cy="359764"/>
          </a:xfrm>
          <a:prstGeom prst="ellipse">
            <a:avLst/>
          </a:prstGeom>
          <a:solidFill>
            <a:srgbClr val="63666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</a:t>
            </a:r>
            <a:endParaRPr lang="x-none" sz="13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65417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8">
            <a:extLst>
              <a:ext uri="{FF2B5EF4-FFF2-40B4-BE49-F238E27FC236}">
                <a16:creationId xmlns:a16="http://schemas.microsoft.com/office/drawing/2014/main" xmlns="" id="{D949C7B6-0954-9D6D-8361-8910DAC9B85A}"/>
              </a:ext>
            </a:extLst>
          </p:cNvPr>
          <p:cNvSpPr/>
          <p:nvPr/>
        </p:nvSpPr>
        <p:spPr>
          <a:xfrm>
            <a:off x="516000" y="4201854"/>
            <a:ext cx="11160000" cy="2312089"/>
          </a:xfrm>
          <a:prstGeom prst="roundRect">
            <a:avLst>
              <a:gd name="adj" fmla="val 5144"/>
            </a:avLst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x-none" sz="2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Скругленный прямоугольник 8">
            <a:extLst>
              <a:ext uri="{FF2B5EF4-FFF2-40B4-BE49-F238E27FC236}">
                <a16:creationId xmlns:a16="http://schemas.microsoft.com/office/drawing/2014/main" xmlns="" id="{BA3759CB-8F9A-9C08-E02E-F464CAE9CCB6}"/>
              </a:ext>
            </a:extLst>
          </p:cNvPr>
          <p:cNvSpPr/>
          <p:nvPr/>
        </p:nvSpPr>
        <p:spPr>
          <a:xfrm>
            <a:off x="516000" y="360000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«Честное сообщество» – новое единое пространство «Честного Знака»</a:t>
            </a:r>
            <a:endParaRPr lang="x-none" sz="20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xmlns="" id="{A62C1771-9AD4-E8C4-AD3B-2911FBEBBD9A}"/>
              </a:ext>
            </a:extLst>
          </p:cNvPr>
          <p:cNvCxnSpPr>
            <a:cxnSpLocks/>
            <a:stCxn id="14" idx="6"/>
          </p:cNvCxnSpPr>
          <p:nvPr/>
        </p:nvCxnSpPr>
        <p:spPr>
          <a:xfrm>
            <a:off x="984750" y="5506763"/>
            <a:ext cx="6253387" cy="18000"/>
          </a:xfrm>
          <a:prstGeom prst="straightConnector1">
            <a:avLst/>
          </a:prstGeom>
          <a:ln w="25400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15DAA90C-B121-D269-5D58-7E6870504888}"/>
              </a:ext>
            </a:extLst>
          </p:cNvPr>
          <p:cNvSpPr txBox="1"/>
          <p:nvPr/>
        </p:nvSpPr>
        <p:spPr>
          <a:xfrm flipH="1">
            <a:off x="840750" y="5688553"/>
            <a:ext cx="1809757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регистрируйтесь</a:t>
            </a:r>
          </a:p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Честном сообществе: </a:t>
            </a: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arkirovka.ru</a:t>
            </a:r>
            <a:endParaRPr lang="ru-RU" sz="1600" b="1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6E63C890-CD0D-2A47-25D0-94E47D4F3089}"/>
              </a:ext>
            </a:extLst>
          </p:cNvPr>
          <p:cNvSpPr txBox="1"/>
          <p:nvPr/>
        </p:nvSpPr>
        <p:spPr>
          <a:xfrm flipH="1">
            <a:off x="3038235" y="5688553"/>
            <a:ext cx="1548780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олните профиль участника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2401CFB6-73B8-DFCA-A7F2-74AA412162F0}"/>
              </a:ext>
            </a:extLst>
          </p:cNvPr>
          <p:cNvSpPr txBox="1"/>
          <p:nvPr/>
        </p:nvSpPr>
        <p:spPr>
          <a:xfrm flipH="1">
            <a:off x="5251045" y="5688553"/>
            <a:ext cx="2124063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убликуйте статьи</a:t>
            </a:r>
          </a:p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общайтесь с участниками</a:t>
            </a:r>
          </a:p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режиме онлайн!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52264A1F-2997-DE8A-2005-352D5A901BB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0750" y="4712139"/>
            <a:ext cx="612000" cy="612000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xmlns="" id="{448FA99D-83DD-4AE4-3C14-04D392D6016F}"/>
              </a:ext>
            </a:extLst>
          </p:cNvPr>
          <p:cNvSpPr>
            <a:spLocks noChangeAspect="1"/>
          </p:cNvSpPr>
          <p:nvPr/>
        </p:nvSpPr>
        <p:spPr>
          <a:xfrm>
            <a:off x="660750" y="5344763"/>
            <a:ext cx="324000" cy="324000"/>
          </a:xfrm>
          <a:prstGeom prst="ellipse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x-none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3B015774-CEAC-6535-B33B-4A1268B70F3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8235" y="4712139"/>
            <a:ext cx="612000" cy="612000"/>
          </a:xfrm>
          <a:prstGeom prst="rect">
            <a:avLst/>
          </a:prstGeom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xmlns="" id="{88895E90-791C-9100-70F4-2231D68FA229}"/>
              </a:ext>
            </a:extLst>
          </p:cNvPr>
          <p:cNvSpPr>
            <a:spLocks noChangeAspect="1"/>
          </p:cNvSpPr>
          <p:nvPr/>
        </p:nvSpPr>
        <p:spPr>
          <a:xfrm>
            <a:off x="2879557" y="5344763"/>
            <a:ext cx="324000" cy="324000"/>
          </a:xfrm>
          <a:prstGeom prst="ellipse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x-none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F5BED310-64D7-C5CF-4778-ABFA0D7F008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51045" y="4712139"/>
            <a:ext cx="612000" cy="612000"/>
          </a:xfrm>
          <a:prstGeom prst="rect">
            <a:avLst/>
          </a:prstGeom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xmlns="" id="{822536CA-BD85-BF6E-CDCB-523DDFE94AFD}"/>
              </a:ext>
            </a:extLst>
          </p:cNvPr>
          <p:cNvSpPr>
            <a:spLocks noChangeAspect="1"/>
          </p:cNvSpPr>
          <p:nvPr/>
        </p:nvSpPr>
        <p:spPr>
          <a:xfrm>
            <a:off x="5094666" y="5344763"/>
            <a:ext cx="324000" cy="324000"/>
          </a:xfrm>
          <a:prstGeom prst="ellipse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x-none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 86">
            <a:extLst>
              <a:ext uri="{FF2B5EF4-FFF2-40B4-BE49-F238E27FC236}">
                <a16:creationId xmlns:a16="http://schemas.microsoft.com/office/drawing/2014/main" xmlns="" id="{D0627BAB-2706-48D9-BE6B-B10764BAC7B5}"/>
              </a:ext>
            </a:extLst>
          </p:cNvPr>
          <p:cNvSpPr/>
          <p:nvPr/>
        </p:nvSpPr>
        <p:spPr>
          <a:xfrm>
            <a:off x="706183" y="3442904"/>
            <a:ext cx="2880000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ожно найти ответ на любой возникающий вопрос по маркировке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58BF3985-99A1-B435-60E0-7535AE9EE11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6183" y="2697951"/>
            <a:ext cx="540000" cy="540000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84535614-B52E-CF42-F0C5-E47E1A9B4F1E}"/>
              </a:ext>
            </a:extLst>
          </p:cNvPr>
          <p:cNvCxnSpPr>
            <a:cxnSpLocks/>
          </p:cNvCxnSpPr>
          <p:nvPr/>
        </p:nvCxnSpPr>
        <p:spPr>
          <a:xfrm rot="5400000">
            <a:off x="975923" y="3093803"/>
            <a:ext cx="0" cy="53948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86">
            <a:extLst>
              <a:ext uri="{FF2B5EF4-FFF2-40B4-BE49-F238E27FC236}">
                <a16:creationId xmlns:a16="http://schemas.microsoft.com/office/drawing/2014/main" xmlns="" id="{4D631CB3-6460-E9B4-B236-336D3E74D125}"/>
              </a:ext>
            </a:extLst>
          </p:cNvPr>
          <p:cNvSpPr/>
          <p:nvPr/>
        </p:nvSpPr>
        <p:spPr>
          <a:xfrm>
            <a:off x="4088443" y="3442904"/>
            <a:ext cx="3048957" cy="5539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юбой участник платформы может задать вопрос, поделиться опытом или выступить с предложением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xmlns="" id="{D0CFA5BD-283D-51DF-1EEA-03F5E7176CE9}"/>
              </a:ext>
            </a:extLst>
          </p:cNvPr>
          <p:cNvGrpSpPr/>
          <p:nvPr/>
        </p:nvGrpSpPr>
        <p:grpSpPr>
          <a:xfrm>
            <a:off x="4088444" y="2698471"/>
            <a:ext cx="540000" cy="665072"/>
            <a:chOff x="3975650" y="2377891"/>
            <a:chExt cx="540000" cy="665072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xmlns="" id="{D14D4E25-B15B-31D7-2FE2-4F933495657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75650" y="2377891"/>
              <a:ext cx="540000" cy="539480"/>
            </a:xfrm>
            <a:prstGeom prst="rect">
              <a:avLst/>
            </a:prstGeom>
          </p:spPr>
        </p:pic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xmlns="" id="{D9B7605F-1B22-C138-7D10-91B9B9716E5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245390" y="2773223"/>
              <a:ext cx="0" cy="539480"/>
            </a:xfrm>
            <a:prstGeom prst="line">
              <a:avLst/>
            </a:prstGeom>
            <a:ln w="50800">
              <a:solidFill>
                <a:srgbClr val="F6F4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ectangle 86">
            <a:extLst>
              <a:ext uri="{FF2B5EF4-FFF2-40B4-BE49-F238E27FC236}">
                <a16:creationId xmlns:a16="http://schemas.microsoft.com/office/drawing/2014/main" xmlns="" id="{7053BE68-58B8-6910-3144-412C11554D54}"/>
              </a:ext>
            </a:extLst>
          </p:cNvPr>
          <p:cNvSpPr/>
          <p:nvPr/>
        </p:nvSpPr>
        <p:spPr>
          <a:xfrm>
            <a:off x="706183" y="2052941"/>
            <a:ext cx="3149694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щение и взаимопомощь между бизнесом и интеграторами в режиме онлайн</a:t>
            </a:r>
            <a:endParaRPr lang="en-US" sz="1200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xmlns="" id="{2A31A78C-6EA0-7D3B-2A99-F0AE35CA61A7}"/>
              </a:ext>
            </a:extLst>
          </p:cNvPr>
          <p:cNvCxnSpPr>
            <a:cxnSpLocks/>
          </p:cNvCxnSpPr>
          <p:nvPr/>
        </p:nvCxnSpPr>
        <p:spPr>
          <a:xfrm rot="5400000">
            <a:off x="975923" y="1703840"/>
            <a:ext cx="0" cy="53948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86">
            <a:extLst>
              <a:ext uri="{FF2B5EF4-FFF2-40B4-BE49-F238E27FC236}">
                <a16:creationId xmlns:a16="http://schemas.microsoft.com/office/drawing/2014/main" xmlns="" id="{AF928A9C-07B0-8E41-A888-02BACFC79922}"/>
              </a:ext>
            </a:extLst>
          </p:cNvPr>
          <p:cNvSpPr/>
          <p:nvPr/>
        </p:nvSpPr>
        <p:spPr>
          <a:xfrm>
            <a:off x="4088442" y="2052941"/>
            <a:ext cx="3149695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добная база знаний, каталог интеграторов и база технических решений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xmlns="" id="{1B4D9428-883D-8405-57C5-381DD0E6E311}"/>
              </a:ext>
            </a:extLst>
          </p:cNvPr>
          <p:cNvCxnSpPr>
            <a:cxnSpLocks/>
          </p:cNvCxnSpPr>
          <p:nvPr/>
        </p:nvCxnSpPr>
        <p:spPr>
          <a:xfrm rot="5400000">
            <a:off x="4358183" y="1703840"/>
            <a:ext cx="0" cy="53948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F9082B39-0ED6-AEBE-BD61-0FEDF5483A0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6183" y="1307988"/>
            <a:ext cx="540000" cy="5400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9E4C8F37-0A80-90F1-CA23-BDD8CC4F371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88443" y="1307988"/>
            <a:ext cx="540000" cy="540000"/>
          </a:xfrm>
          <a:prstGeom prst="rect">
            <a:avLst/>
          </a:prstGeom>
        </p:spPr>
      </p:pic>
      <p:pic>
        <p:nvPicPr>
          <p:cNvPr id="35" name="Рисунок 4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xmlns="" id="{9DF0AD87-3B60-BF35-AA44-E95092F7CD0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39660" y="1363407"/>
            <a:ext cx="3846157" cy="4996935"/>
          </a:xfrm>
          <a:prstGeom prst="rect">
            <a:avLst/>
          </a:prstGeom>
          <a:effectLst>
            <a:outerShdw blurRad="127000" algn="ctr" rotWithShape="0">
              <a:prstClr val="black">
                <a:alpha val="20000"/>
              </a:prstClr>
            </a:outerShdw>
          </a:effec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7F108612-40BA-DC03-E623-243E9821D6F6}"/>
              </a:ext>
            </a:extLst>
          </p:cNvPr>
          <p:cNvSpPr txBox="1"/>
          <p:nvPr/>
        </p:nvSpPr>
        <p:spPr>
          <a:xfrm>
            <a:off x="703006" y="4331071"/>
            <a:ext cx="7026254" cy="307777"/>
          </a:xfrm>
          <a:prstGeom prst="rect">
            <a:avLst/>
          </a:prstGeom>
          <a:noFill/>
        </p:spPr>
        <p:txBody>
          <a:bodyPr wrap="square" lIns="36000">
            <a:spAutoFit/>
          </a:bodyPr>
          <a:lstStyle/>
          <a:p>
            <a:r>
              <a:rPr lang="ru-RU" sz="1400" b="1" dirty="0">
                <a:solidFill>
                  <a:srgbClr val="F6F5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ы улучшили Честное Сообщество!</a:t>
            </a:r>
            <a:r>
              <a:rPr lang="en-US" sz="1400" b="1" dirty="0">
                <a:solidFill>
                  <a:srgbClr val="F6F5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rgbClr val="F6F5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ще. Быстрее. Качественнее!</a:t>
            </a:r>
          </a:p>
        </p:txBody>
      </p:sp>
    </p:spTree>
    <p:extLst>
      <p:ext uri="{BB962C8B-B14F-4D97-AF65-F5344CB8AC3E}">
        <p14:creationId xmlns:p14="http://schemas.microsoft.com/office/powerpoint/2010/main" val="324434187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32">
            <a:extLst>
              <a:ext uri="{FF2B5EF4-FFF2-40B4-BE49-F238E27FC236}">
                <a16:creationId xmlns:a16="http://schemas.microsoft.com/office/drawing/2014/main" xmlns="" id="{9CEA2D67-0475-A24C-B145-F1CCCF443792}"/>
              </a:ext>
            </a:extLst>
          </p:cNvPr>
          <p:cNvSpPr/>
          <p:nvPr/>
        </p:nvSpPr>
        <p:spPr>
          <a:xfrm>
            <a:off x="696000" y="360167"/>
            <a:ext cx="10800000" cy="90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ы на связи всегда: прямая связь с экспертами, </a:t>
            </a:r>
          </a:p>
          <a:p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веты на вопросы онлайн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F40FE959-895D-2F44-A269-9ECDCE3BE968}"/>
              </a:ext>
            </a:extLst>
          </p:cNvPr>
          <p:cNvSpPr txBox="1"/>
          <p:nvPr/>
        </p:nvSpPr>
        <p:spPr>
          <a:xfrm>
            <a:off x="1746218" y="2997333"/>
            <a:ext cx="3607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ли позвоните по телефону</a:t>
            </a:r>
          </a:p>
          <a:p>
            <a:r>
              <a:rPr lang="fi-FI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8 800 222 15 23</a:t>
            </a:r>
            <a:endParaRPr lang="ru-RU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9B84E8D3-8628-564A-8B4D-B9073F7B48E5}"/>
              </a:ext>
            </a:extLst>
          </p:cNvPr>
          <p:cNvSpPr txBox="1"/>
          <p:nvPr/>
        </p:nvSpPr>
        <p:spPr>
          <a:xfrm>
            <a:off x="1746218" y="2112914"/>
            <a:ext cx="3607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 можете написать нам</a:t>
            </a:r>
            <a:endParaRPr lang="en-US" sz="14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 почте</a:t>
            </a:r>
            <a:r>
              <a:rPr lang="en-US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1" u="sng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support@crpt.ru</a:t>
            </a:r>
            <a:endParaRPr lang="ru-RU" sz="1400" b="1" u="sng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5F2A2374-C448-8440-8B3B-939A8CACCBBA}"/>
              </a:ext>
            </a:extLst>
          </p:cNvPr>
          <p:cNvSpPr txBox="1"/>
          <p:nvPr/>
        </p:nvSpPr>
        <p:spPr>
          <a:xfrm>
            <a:off x="696000" y="3927894"/>
            <a:ext cx="46579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 можете узнать самые горячие новости</a:t>
            </a:r>
          </a:p>
          <a:p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задать вопросы в наших </a:t>
            </a:r>
            <a:r>
              <a:rPr lang="ru-RU" sz="1400" dirty="0" err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ц</a:t>
            </a:r>
            <a:r>
              <a:rPr lang="en-US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альных 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етях</a:t>
            </a:r>
            <a:endParaRPr lang="ru-RU" sz="11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15A5408A-E43B-724E-9698-8C84D90C0826}"/>
              </a:ext>
            </a:extLst>
          </p:cNvPr>
          <p:cNvGrpSpPr/>
          <p:nvPr/>
        </p:nvGrpSpPr>
        <p:grpSpPr>
          <a:xfrm>
            <a:off x="6230100" y="4738774"/>
            <a:ext cx="5358674" cy="1544297"/>
            <a:chOff x="6230100" y="4784376"/>
            <a:chExt cx="5358674" cy="1544297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xmlns="" id="{D58F1747-0566-FD4C-B40A-FB2228E4CEEE}"/>
                </a:ext>
              </a:extLst>
            </p:cNvPr>
            <p:cNvSpPr txBox="1"/>
            <p:nvPr/>
          </p:nvSpPr>
          <p:spPr>
            <a:xfrm>
              <a:off x="7188390" y="4851708"/>
              <a:ext cx="4400384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егулярные обучающие вебинары на сайте </a:t>
              </a:r>
            </a:p>
            <a:p>
              <a:r>
                <a:rPr lang="ru-RU" sz="1400" b="1" u="sng" dirty="0" err="1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ЧестныйЗНАК.рф</a:t>
              </a:r>
              <a:endParaRPr lang="ru-RU" sz="1400" b="1" u="sng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endPara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lang="ru-RU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аздел мероприятия </a:t>
              </a:r>
              <a:r>
                <a:rPr lang="en-US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&gt;</a:t>
              </a:r>
              <a:r>
                <a:rPr lang="ru-RU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расписания вебинаров</a:t>
              </a:r>
            </a:p>
            <a:p>
              <a:r>
                <a:rPr lang="ru-RU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Записи мероприятий в разделе мероприятия </a:t>
              </a:r>
              <a:r>
                <a:rPr lang="en-US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&gt;</a:t>
              </a:r>
              <a:r>
                <a:rPr lang="ru-RU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видеоархив </a:t>
              </a:r>
            </a:p>
          </p:txBody>
        </p:sp>
        <p:pic>
          <p:nvPicPr>
            <p:cNvPr id="11" name="Рисунок 50">
              <a:extLst>
                <a:ext uri="{FF2B5EF4-FFF2-40B4-BE49-F238E27FC236}">
                  <a16:creationId xmlns:a16="http://schemas.microsoft.com/office/drawing/2014/main" xmlns="" id="{8A9896D5-6345-0644-B14F-362475E065B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30100" y="4784376"/>
              <a:ext cx="778376" cy="1544297"/>
            </a:xfrm>
            <a:prstGeom prst="rect">
              <a:avLst/>
            </a:prstGeom>
          </p:spPr>
        </p:pic>
      </p:grpSp>
      <p:pic>
        <p:nvPicPr>
          <p:cNvPr id="14" name="Рисунок 1">
            <a:extLst>
              <a:ext uri="{FF2B5EF4-FFF2-40B4-BE49-F238E27FC236}">
                <a16:creationId xmlns:a16="http://schemas.microsoft.com/office/drawing/2014/main" xmlns="" id="{1D681147-3203-7D47-9E73-6EECAB1CDF4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773" y="2014524"/>
            <a:ext cx="720000" cy="7200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D5DEAF7D-BC8A-CD4A-AA93-A440DD4B1638}"/>
              </a:ext>
            </a:extLst>
          </p:cNvPr>
          <p:cNvGrpSpPr/>
          <p:nvPr/>
        </p:nvGrpSpPr>
        <p:grpSpPr>
          <a:xfrm>
            <a:off x="6259288" y="2898943"/>
            <a:ext cx="5329486" cy="720000"/>
            <a:chOff x="6259288" y="3543880"/>
            <a:chExt cx="5329486" cy="720000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xmlns="" id="{B8E99A43-26D0-334D-9E31-14D8FC19C5C4}"/>
                </a:ext>
              </a:extLst>
            </p:cNvPr>
            <p:cNvSpPr txBox="1"/>
            <p:nvPr/>
          </p:nvSpPr>
          <p:spPr>
            <a:xfrm>
              <a:off x="7188390" y="3642270"/>
              <a:ext cx="44003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Видео-инструкции и опыт участников</a:t>
              </a:r>
            </a:p>
            <a:p>
              <a:r>
                <a:rPr lang="ru-RU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в канале </a:t>
              </a:r>
              <a:r>
                <a:rPr lang="en-US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YouTube</a:t>
              </a:r>
              <a:r>
                <a:rPr lang="ru-RU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hlinkClick r:id="rId5">
                    <a:extLst>
                      <a:ext uri="{A12FA001-AC4F-418D-AE19-62706E023703}">
                        <ahyp:hlinkClr xmlns:ahyp="http://schemas.microsoft.com/office/drawing/2018/hyperlinkcolor" xmlns="" val="tx"/>
                      </a:ext>
                    </a:extLst>
                  </a:hlinkClick>
                </a:rPr>
                <a:t>ЧестныйЗНАК</a:t>
              </a:r>
              <a:endParaRPr lang="ru-RU" sz="11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5" name="Рисунок 58">
              <a:extLst>
                <a:ext uri="{FF2B5EF4-FFF2-40B4-BE49-F238E27FC236}">
                  <a16:creationId xmlns:a16="http://schemas.microsoft.com/office/drawing/2014/main" xmlns="" id="{C0657955-8A87-704D-9185-C4BA9A24C1C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59288" y="3543880"/>
              <a:ext cx="720000" cy="720000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C71E9394-33ED-4544-83E2-DE4E1B7F42A0}"/>
              </a:ext>
            </a:extLst>
          </p:cNvPr>
          <p:cNvGrpSpPr/>
          <p:nvPr/>
        </p:nvGrpSpPr>
        <p:grpSpPr>
          <a:xfrm>
            <a:off x="6259288" y="2014524"/>
            <a:ext cx="4517160" cy="720000"/>
            <a:chOff x="836773" y="5618343"/>
            <a:chExt cx="4517160" cy="720000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xmlns="" id="{7A6D2207-3C72-2B4F-8CB1-989BEB6BA4C5}"/>
                </a:ext>
              </a:extLst>
            </p:cNvPr>
            <p:cNvSpPr txBox="1"/>
            <p:nvPr/>
          </p:nvSpPr>
          <p:spPr>
            <a:xfrm>
              <a:off x="1753933" y="5824455"/>
              <a:ext cx="3600000" cy="3060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hlinkClick r:id="rId7">
                    <a:extLst>
                      <a:ext uri="{A12FA001-AC4F-418D-AE19-62706E023703}">
                        <ahyp:hlinkClr xmlns:ahyp="http://schemas.microsoft.com/office/drawing/2018/hyperlinkcolor" xmlns="" val="tx"/>
                      </a:ext>
                    </a:extLst>
                  </a:hlinkClick>
                </a:rPr>
                <a:t>https://vk.com/crptec</a:t>
              </a:r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</a:p>
          </p:txBody>
        </p:sp>
        <p:pic>
          <p:nvPicPr>
            <p:cNvPr id="16" name="Рисунок 59">
              <a:extLst>
                <a:ext uri="{FF2B5EF4-FFF2-40B4-BE49-F238E27FC236}">
                  <a16:creationId xmlns:a16="http://schemas.microsoft.com/office/drawing/2014/main" xmlns="" id="{45278BEB-0464-974B-853C-E6C9E09F2A5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36773" y="5618343"/>
              <a:ext cx="720000" cy="720000"/>
            </a:xfrm>
            <a:prstGeom prst="rect">
              <a:avLst/>
            </a:prstGeom>
          </p:spPr>
        </p:pic>
      </p:grpSp>
      <p:pic>
        <p:nvPicPr>
          <p:cNvPr id="18" name="Рисунок 61">
            <a:extLst>
              <a:ext uri="{FF2B5EF4-FFF2-40B4-BE49-F238E27FC236}">
                <a16:creationId xmlns:a16="http://schemas.microsoft.com/office/drawing/2014/main" xmlns="" id="{37C6B103-8687-554F-AC02-2A7DE0461A5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773" y="2898943"/>
            <a:ext cx="720000" cy="720000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6CA5B8E3-2484-7247-B4D0-4100748A8986}"/>
              </a:ext>
            </a:extLst>
          </p:cNvPr>
          <p:cNvGrpSpPr/>
          <p:nvPr/>
        </p:nvGrpSpPr>
        <p:grpSpPr>
          <a:xfrm>
            <a:off x="836773" y="4738774"/>
            <a:ext cx="5329485" cy="720000"/>
            <a:chOff x="6259288" y="2014524"/>
            <a:chExt cx="5329485" cy="720000"/>
          </a:xfrm>
        </p:grpSpPr>
        <p:pic>
          <p:nvPicPr>
            <p:cNvPr id="23" name="Рисунок 60">
              <a:extLst>
                <a:ext uri="{FF2B5EF4-FFF2-40B4-BE49-F238E27FC236}">
                  <a16:creationId xmlns:a16="http://schemas.microsoft.com/office/drawing/2014/main" xmlns="" id="{9D8C3D66-9915-6245-8D76-D518950CB9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59288" y="2014524"/>
              <a:ext cx="720000" cy="720000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xmlns="" id="{2C175AA0-BD63-6042-947E-5E64B2C05514}"/>
                </a:ext>
              </a:extLst>
            </p:cNvPr>
            <p:cNvSpPr txBox="1"/>
            <p:nvPr/>
          </p:nvSpPr>
          <p:spPr>
            <a:xfrm>
              <a:off x="7188389" y="2112914"/>
              <a:ext cx="44003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Все новости маркировки в канале телеграмм</a:t>
              </a:r>
            </a:p>
            <a:p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hlinkClick r:id="rId11">
                    <a:extLst>
                      <a:ext uri="{A12FA001-AC4F-418D-AE19-62706E023703}">
                        <ahyp:hlinkClr xmlns:ahyp="http://schemas.microsoft.com/office/drawing/2018/hyperlinkcolor" xmlns="" val="tx"/>
                      </a:ext>
                    </a:extLst>
                  </a:hlinkClick>
                </a:rPr>
                <a:t>https://t.me/crptbreaking</a:t>
              </a:r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0379135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12">
            <a:extLst>
              <a:ext uri="{FF2B5EF4-FFF2-40B4-BE49-F238E27FC236}">
                <a16:creationId xmlns:a16="http://schemas.microsoft.com/office/drawing/2014/main" xmlns="" id="{04868D3D-C56F-B943-9BA7-52A90B0B863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61171" y="-1"/>
            <a:ext cx="6130829" cy="6858000"/>
          </a:xfrm>
          <a:prstGeom prst="rect">
            <a:avLst/>
          </a:prstGeom>
        </p:spPr>
      </p:pic>
      <p:sp>
        <p:nvSpPr>
          <p:cNvPr id="10" name="Прямоугольник 11">
            <a:extLst>
              <a:ext uri="{FF2B5EF4-FFF2-40B4-BE49-F238E27FC236}">
                <a16:creationId xmlns:a16="http://schemas.microsoft.com/office/drawing/2014/main" xmlns="" id="{5EB46129-57CA-D641-A1F0-EAEA30427303}"/>
              </a:ext>
            </a:extLst>
          </p:cNvPr>
          <p:cNvSpPr/>
          <p:nvPr/>
        </p:nvSpPr>
        <p:spPr>
          <a:xfrm>
            <a:off x="0" y="0"/>
            <a:ext cx="6061171" cy="686794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6D6E71"/>
              </a:solidFill>
              <a:highlight>
                <a:srgbClr val="595959"/>
              </a:highlight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441FE9DE-E045-A940-BF7D-9D9A82CAD5C5}"/>
              </a:ext>
            </a:extLst>
          </p:cNvPr>
          <p:cNvSpPr/>
          <p:nvPr/>
        </p:nvSpPr>
        <p:spPr>
          <a:xfrm>
            <a:off x="734676" y="3885108"/>
            <a:ext cx="4556989" cy="1246495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839852"/>
            <a:r>
              <a:rPr lang="ru-RU" sz="15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ехническая поддержка</a:t>
            </a:r>
            <a:endParaRPr lang="en-US" sz="15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/>
            <a:r>
              <a:rPr lang="en-US" sz="15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8 (800) 222-15-23</a:t>
            </a:r>
          </a:p>
          <a:p>
            <a:pPr defTabSz="839852"/>
            <a:endParaRPr lang="ru-RU" sz="15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/>
            <a:r>
              <a:rPr lang="en-US" sz="1500" b="1" u="sng" dirty="0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support@crpt.ru</a:t>
            </a:r>
            <a:endParaRPr lang="en-US" sz="1500" b="1" u="sng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/>
            <a:r>
              <a:rPr lang="ru-RU" sz="1500" b="1" u="sng" dirty="0" err="1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ыйзнак.рф</a:t>
            </a:r>
            <a:endParaRPr lang="ru-RU" sz="1500" b="1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xmlns="" id="{F73ECF50-AED9-8642-9032-7014F7A08841}"/>
              </a:ext>
            </a:extLst>
          </p:cNvPr>
          <p:cNvSpPr txBox="1">
            <a:spLocks/>
          </p:cNvSpPr>
          <p:nvPr/>
        </p:nvSpPr>
        <p:spPr>
          <a:xfrm>
            <a:off x="734676" y="778059"/>
            <a:ext cx="4556990" cy="73754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АСИБО</a:t>
            </a:r>
          </a:p>
          <a:p>
            <a:pPr defTabSz="839852">
              <a:lnSpc>
                <a:spcPct val="100000"/>
              </a:lnSpc>
            </a:pPr>
            <a:r>
              <a:rPr lang="ru-RU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 ВНИМАНИЕ!</a:t>
            </a:r>
            <a:endParaRPr lang="ru-RU" sz="2400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3" name="Прямая соединительная линия 13">
            <a:extLst>
              <a:ext uri="{FF2B5EF4-FFF2-40B4-BE49-F238E27FC236}">
                <a16:creationId xmlns:a16="http://schemas.microsoft.com/office/drawing/2014/main" xmlns="" id="{0D0157E4-AE71-B44D-8977-8E9279494BB4}"/>
              </a:ext>
            </a:extLst>
          </p:cNvPr>
          <p:cNvCxnSpPr>
            <a:cxnSpLocks/>
          </p:cNvCxnSpPr>
          <p:nvPr/>
        </p:nvCxnSpPr>
        <p:spPr>
          <a:xfrm flipH="1">
            <a:off x="734676" y="1590046"/>
            <a:ext cx="2326512" cy="0"/>
          </a:xfrm>
          <a:prstGeom prst="line">
            <a:avLst/>
          </a:prstGeom>
          <a:ln w="41275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2">
            <a:extLst>
              <a:ext uri="{FF2B5EF4-FFF2-40B4-BE49-F238E27FC236}">
                <a16:creationId xmlns:a16="http://schemas.microsoft.com/office/drawing/2014/main" xmlns="" id="{1F1C8C51-DEDF-384C-8279-7A2086F4933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560" y="5481565"/>
            <a:ext cx="3367545" cy="734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015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6">
            <a:extLst>
              <a:ext uri="{FF2B5EF4-FFF2-40B4-BE49-F238E27FC236}">
                <a16:creationId xmlns:a16="http://schemas.microsoft.com/office/drawing/2014/main" xmlns="" id="{5A10655A-DC5E-9DCB-368D-9DA8E1EAAC8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0856" y="1028077"/>
            <a:ext cx="4671144" cy="4901331"/>
          </a:xfrm>
          <a:prstGeom prst="rect">
            <a:avLst/>
          </a:prstGeom>
        </p:spPr>
      </p:pic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дукция, подлежащая маркировке </a:t>
            </a:r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ППР 2173 от 30.11.2022 г.)</a:t>
            </a: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object 14">
            <a:extLst>
              <a:ext uri="{FF2B5EF4-FFF2-40B4-BE49-F238E27FC236}">
                <a16:creationId xmlns:a16="http://schemas.microsoft.com/office/drawing/2014/main" xmlns="" id="{9220960A-5F6A-FA15-19EC-C62649E9B361}"/>
              </a:ext>
            </a:extLst>
          </p:cNvPr>
          <p:cNvSpPr txBox="1"/>
          <p:nvPr/>
        </p:nvSpPr>
        <p:spPr>
          <a:xfrm>
            <a:off x="516000" y="1490532"/>
            <a:ext cx="7112578" cy="273151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84400" marR="600710" indent="-284400">
              <a:lnSpc>
                <a:spcPct val="100000"/>
              </a:lnSpc>
              <a:buBlip>
                <a:blip r:embed="rId3"/>
              </a:buBlip>
            </a:pP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иво солодовое и напитки пивные</a:t>
            </a:r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4400" marR="600710">
              <a:lnSpc>
                <a:spcPct val="100000"/>
              </a:lnSpc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ды ТНВЭД: 2203 00, 2206 00; </a:t>
            </a:r>
            <a:endParaRPr lang="en-US" sz="1400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4400" marR="600710">
              <a:lnSpc>
                <a:spcPct val="100000"/>
              </a:lnSpc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ды ОКПД-2: 11.05.10.120; 11.05.10.130; 11.05.10.160</a:t>
            </a:r>
          </a:p>
          <a:p>
            <a:pPr marL="284400" indent="-284400">
              <a:lnSpc>
                <a:spcPct val="10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идры</a:t>
            </a:r>
          </a:p>
          <a:p>
            <a:pPr marL="284400">
              <a:lnSpc>
                <a:spcPct val="100000"/>
              </a:lnSpc>
              <a:spcBef>
                <a:spcPts val="500"/>
              </a:spcBef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ды ТНВЭД: 2206 00 310 0; 2206 00 510 0; 2206 00 810 0</a:t>
            </a:r>
          </a:p>
          <a:p>
            <a:pPr marL="284400">
              <a:lnSpc>
                <a:spcPct val="100000"/>
              </a:lnSpc>
              <a:spcBef>
                <a:spcPts val="500"/>
              </a:spcBef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ды ОКПД-2: 11.03.10.211; 11.03.10.212</a:t>
            </a:r>
          </a:p>
          <a:p>
            <a:pPr marL="284400" indent="-284400">
              <a:lnSpc>
                <a:spcPct val="10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чие напитки с фактической концентрацией спирта не более 7% (медовуха, </a:t>
            </a:r>
            <a:r>
              <a:rPr lang="ru-RU" sz="1400" b="1" dirty="0" err="1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уаре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</a:p>
          <a:p>
            <a:pPr marL="284400">
              <a:lnSpc>
                <a:spcPct val="100000"/>
              </a:lnSpc>
              <a:spcBef>
                <a:spcPts val="500"/>
              </a:spcBef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ды ТНВЭД: 2206 00 390 1; 2206 00 590 1; 2206 00 890 1</a:t>
            </a:r>
          </a:p>
          <a:p>
            <a:pPr marL="284400">
              <a:lnSpc>
                <a:spcPct val="100000"/>
              </a:lnSpc>
              <a:spcBef>
                <a:spcPts val="500"/>
              </a:spcBef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ды ОКПД-2: 11.03.10.210</a:t>
            </a:r>
          </a:p>
        </p:txBody>
      </p:sp>
      <p:sp>
        <p:nvSpPr>
          <p:cNvPr id="22" name="Скругленный прямоугольник 8">
            <a:extLst>
              <a:ext uri="{FF2B5EF4-FFF2-40B4-BE49-F238E27FC236}">
                <a16:creationId xmlns:a16="http://schemas.microsoft.com/office/drawing/2014/main" xmlns="" id="{BDE9FDFA-EB69-36B8-9C59-4449722CAAE1}"/>
              </a:ext>
            </a:extLst>
          </p:cNvPr>
          <p:cNvSpPr/>
          <p:nvPr/>
        </p:nvSpPr>
        <p:spPr>
          <a:xfrm>
            <a:off x="516000" y="4529727"/>
            <a:ext cx="6368276" cy="1037877"/>
          </a:xfrm>
          <a:prstGeom prst="roundRect">
            <a:avLst>
              <a:gd name="adj" fmla="val 9578"/>
            </a:avLst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0" tIns="180000" rIns="180000" bIns="180000" rtlCol="0" anchor="ctr"/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 подлежит обязательной маркировке 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езалкогольное пиво, коды ТНВЭД: 2202 91 000 0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анковое пиво (</a:t>
            </a:r>
            <a:r>
              <a:rPr lang="ru-RU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орфасное</a:t>
            </a: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бойлерное)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xmlns="" id="{FC8A6693-B6FE-E7FB-2556-9F548E8EB12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66750" y="4715021"/>
            <a:ext cx="720000" cy="66432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D94A9B8D-63DB-08B2-B685-50A42DF1250E}"/>
              </a:ext>
            </a:extLst>
          </p:cNvPr>
          <p:cNvSpPr txBox="1"/>
          <p:nvPr/>
        </p:nvSpPr>
        <p:spPr>
          <a:xfrm>
            <a:off x="516000" y="5974781"/>
            <a:ext cx="11160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1193566" hangingPunct="0">
              <a:defRPr/>
            </a:pPr>
            <a:r>
              <a:rPr lang="ru-RU" sz="1400" dirty="0">
                <a:solidFill>
                  <a:srgbClr val="6D6E71"/>
                </a:solidFill>
                <a:latin typeface="Segoe UI Semilight" panose="020B0502040204020203" pitchFamily="34" charset="0"/>
                <a:cs typeface="Segoe UI Semilight" panose="020B0502040204020203" pitchFamily="34" charset="0"/>
                <a:sym typeface="PT Sans Caption"/>
              </a:rPr>
              <a:t>В целях определения продукции, подлежащей обязательной маркировке средствами идентификации, необходимо руководствоваться одновременно кодом ТНВЭД и кодом ОКПД-2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xmlns="" id="{7C2F07B3-80F6-8541-A6BB-41D32776F972}"/>
              </a:ext>
            </a:extLst>
          </p:cNvPr>
          <p:cNvCxnSpPr>
            <a:cxnSpLocks/>
          </p:cNvCxnSpPr>
          <p:nvPr/>
        </p:nvCxnSpPr>
        <p:spPr>
          <a:xfrm>
            <a:off x="516000" y="5875283"/>
            <a:ext cx="11160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10555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B5677F8E-4AEE-CF5A-A28F-8302BDFBB855}"/>
              </a:ext>
            </a:extLst>
          </p:cNvPr>
          <p:cNvSpPr/>
          <p:nvPr/>
        </p:nvSpPr>
        <p:spPr>
          <a:xfrm>
            <a:off x="2159168" y="2750143"/>
            <a:ext cx="1440000" cy="461665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ая маркировка:</a:t>
            </a:r>
          </a:p>
          <a:p>
            <a:pPr algn="ctr"/>
            <a:r>
              <a:rPr lang="ru-RU" sz="10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еги</a:t>
            </a:r>
            <a:endParaRPr lang="ru-RU" sz="1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86DE857C-65D8-5133-8173-5882A2C458A1}"/>
              </a:ext>
            </a:extLst>
          </p:cNvPr>
          <p:cNvSpPr/>
          <p:nvPr/>
        </p:nvSpPr>
        <p:spPr>
          <a:xfrm>
            <a:off x="3761161" y="2750143"/>
            <a:ext cx="1404000" cy="461665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язательная маркировка:</a:t>
            </a: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ЭТ, Стекло</a:t>
            </a:r>
            <a:endParaRPr lang="ru-RU" sz="1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48C9181D-08D1-DA03-D82F-4C4F2DCCCB18}"/>
              </a:ext>
            </a:extLst>
          </p:cNvPr>
          <p:cNvSpPr txBox="1"/>
          <p:nvPr/>
        </p:nvSpPr>
        <p:spPr>
          <a:xfrm>
            <a:off x="5309844" y="2750143"/>
            <a:ext cx="1440000" cy="507831"/>
          </a:xfrm>
          <a:prstGeom prst="rect">
            <a:avLst/>
          </a:prstGeom>
          <a:noFill/>
        </p:spPr>
        <p:txBody>
          <a:bodyPr wrap="square" tIns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язательная маркировка:</a:t>
            </a: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Л Банки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xmlns="" id="{878460F6-98F7-422C-4C8E-B1AEFDE10954}"/>
              </a:ext>
            </a:extLst>
          </p:cNvPr>
          <p:cNvSpPr/>
          <p:nvPr/>
        </p:nvSpPr>
        <p:spPr>
          <a:xfrm>
            <a:off x="4754114" y="4462469"/>
            <a:ext cx="2551460" cy="76944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ЕГИ: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ча сведений при подключении кеги к оборудованию для розлива; 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астичное выбытие с помощью ККТ</a:t>
            </a:r>
          </a:p>
          <a:p>
            <a:pPr algn="ctr"/>
            <a:endParaRPr lang="ru-RU" sz="1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xmlns="" id="{BDC3AF5C-9FDE-0132-4A37-460BCFCE489F}"/>
              </a:ext>
            </a:extLst>
          </p:cNvPr>
          <p:cNvSpPr/>
          <p:nvPr/>
        </p:nvSpPr>
        <p:spPr>
          <a:xfrm>
            <a:off x="7454158" y="4462469"/>
            <a:ext cx="1820436" cy="615553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ЭТ, Стекло, АЛ банки:</a:t>
            </a:r>
            <a:b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ая продажа маркированной штучной продукции с помощью ККТ</a:t>
            </a:r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8712000" cy="54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тапы запуска обязательной маркировки пива</a:t>
            </a:r>
            <a:endParaRPr lang="en-US" sz="20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162DEDA-6DCD-2A71-03BC-587357C7E4F7}"/>
              </a:ext>
            </a:extLst>
          </p:cNvPr>
          <p:cNvSpPr/>
          <p:nvPr/>
        </p:nvSpPr>
        <p:spPr>
          <a:xfrm>
            <a:off x="9590446" y="-10664"/>
            <a:ext cx="2593366" cy="6858000"/>
          </a:xfrm>
          <a:prstGeom prst="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F9B99DF-E407-F6A4-21E0-82987B417542}"/>
              </a:ext>
            </a:extLst>
          </p:cNvPr>
          <p:cNvSpPr/>
          <p:nvPr/>
        </p:nvSpPr>
        <p:spPr>
          <a:xfrm>
            <a:off x="9659783" y="5689216"/>
            <a:ext cx="2454692" cy="626701"/>
          </a:xfrm>
          <a:prstGeom prst="rect">
            <a:avLst/>
          </a:prstGeom>
        </p:spPr>
        <p:txBody>
          <a:bodyPr wrap="square" tIns="0" bIns="7200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рет вывода из оборота немаркированного пива </a:t>
            </a: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ПЭТ, Стекло, АЛ Банки</a:t>
            </a:r>
            <a:endParaRPr lang="ru-RU" sz="12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angle 158">
            <a:extLst>
              <a:ext uri="{FF2B5EF4-FFF2-40B4-BE49-F238E27FC236}">
                <a16:creationId xmlns:a16="http://schemas.microsoft.com/office/drawing/2014/main" xmlns="" id="{B268675E-C126-E263-B079-CD4B3652D395}"/>
              </a:ext>
            </a:extLst>
          </p:cNvPr>
          <p:cNvSpPr/>
          <p:nvPr/>
        </p:nvSpPr>
        <p:spPr>
          <a:xfrm>
            <a:off x="9659783" y="1911734"/>
            <a:ext cx="2454692" cy="442035"/>
          </a:xfrm>
          <a:prstGeom prst="rect">
            <a:avLst/>
          </a:prstGeom>
        </p:spPr>
        <p:txBody>
          <a:bodyPr wrap="square" tIns="0" bIns="7200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рет вывода из оборота немаркированного пива: Кеги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A806CA95-9D36-4179-B9AE-367708B81B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17129" y="4487887"/>
            <a:ext cx="540000" cy="54000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57918D89-9304-2D8D-4B57-7A3871DAC193}"/>
              </a:ext>
            </a:extLst>
          </p:cNvPr>
          <p:cNvCxnSpPr>
            <a:cxnSpLocks/>
          </p:cNvCxnSpPr>
          <p:nvPr/>
        </p:nvCxnSpPr>
        <p:spPr>
          <a:xfrm>
            <a:off x="10887129" y="2353769"/>
            <a:ext cx="0" cy="1970463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157">
            <a:extLst>
              <a:ext uri="{FF2B5EF4-FFF2-40B4-BE49-F238E27FC236}">
                <a16:creationId xmlns:a16="http://schemas.microsoft.com/office/drawing/2014/main" xmlns="" id="{5660611B-CA38-F700-C5DD-8C0A95A30353}"/>
              </a:ext>
            </a:extLst>
          </p:cNvPr>
          <p:cNvSpPr/>
          <p:nvPr/>
        </p:nvSpPr>
        <p:spPr>
          <a:xfrm>
            <a:off x="10134611" y="1452965"/>
            <a:ext cx="1505037" cy="360000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апреля 2024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" name="Picture 159">
            <a:extLst>
              <a:ext uri="{FF2B5EF4-FFF2-40B4-BE49-F238E27FC236}">
                <a16:creationId xmlns:a16="http://schemas.microsoft.com/office/drawing/2014/main" xmlns="" id="{55775B62-6227-D877-099C-E5384300038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17129" y="794698"/>
            <a:ext cx="540000" cy="540000"/>
          </a:xfrm>
          <a:prstGeom prst="rect">
            <a:avLst/>
          </a:prstGeom>
        </p:spPr>
      </p:pic>
      <p:sp>
        <p:nvSpPr>
          <p:cNvPr id="17" name="Rounded Rectangle 16">
            <a:extLst>
              <a:ext uri="{FF2B5EF4-FFF2-40B4-BE49-F238E27FC236}">
                <a16:creationId xmlns:a16="http://schemas.microsoft.com/office/drawing/2014/main" xmlns="" id="{0A12A820-7351-B77D-8072-17A0647976D4}"/>
              </a:ext>
            </a:extLst>
          </p:cNvPr>
          <p:cNvSpPr/>
          <p:nvPr/>
        </p:nvSpPr>
        <p:spPr>
          <a:xfrm>
            <a:off x="10134611" y="5191542"/>
            <a:ext cx="1505037" cy="360000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5 января 2025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4BE47985-CC77-DB6D-91BE-0C006B79C66E}"/>
              </a:ext>
            </a:extLst>
          </p:cNvPr>
          <p:cNvSpPr txBox="1"/>
          <p:nvPr/>
        </p:nvSpPr>
        <p:spPr>
          <a:xfrm>
            <a:off x="516000" y="1157815"/>
            <a:ext cx="66205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истрация в системе маркировки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а с 1 марта 2023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xmlns="" id="{E772E16B-22B5-D963-B806-1B15B92D067B}"/>
              </a:ext>
            </a:extLst>
          </p:cNvPr>
          <p:cNvSpPr/>
          <p:nvPr/>
        </p:nvSpPr>
        <p:spPr>
          <a:xfrm>
            <a:off x="529040" y="1726906"/>
            <a:ext cx="1288800" cy="1377179"/>
          </a:xfrm>
          <a:prstGeom prst="roundRect">
            <a:avLst>
              <a:gd name="adj" fmla="val 7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29679574-214F-8BFC-BFAF-8A22DEDD00CE}"/>
              </a:ext>
            </a:extLst>
          </p:cNvPr>
          <p:cNvSpPr txBox="1"/>
          <p:nvPr/>
        </p:nvSpPr>
        <p:spPr>
          <a:xfrm>
            <a:off x="530650" y="2487170"/>
            <a:ext cx="128570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ИЗВОДИТЕЛИ /</a:t>
            </a: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МПОРТЕРЫ</a:t>
            </a:r>
          </a:p>
        </p:txBody>
      </p:sp>
      <p:pic>
        <p:nvPicPr>
          <p:cNvPr id="21" name="Picture 20" descr="Icon&#10;&#10;Description automatically generated">
            <a:extLst>
              <a:ext uri="{FF2B5EF4-FFF2-40B4-BE49-F238E27FC236}">
                <a16:creationId xmlns:a16="http://schemas.microsoft.com/office/drawing/2014/main" xmlns="" id="{8DE5D4B6-173F-6B77-6FE8-FEAA7207ECD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504" y="1850289"/>
            <a:ext cx="594000" cy="594000"/>
          </a:xfrm>
          <a:prstGeom prst="rect">
            <a:avLst/>
          </a:prstGeom>
        </p:spPr>
      </p:pic>
      <p:sp>
        <p:nvSpPr>
          <p:cNvPr id="22" name="Rounded Rectangle 21">
            <a:extLst>
              <a:ext uri="{FF2B5EF4-FFF2-40B4-BE49-F238E27FC236}">
                <a16:creationId xmlns:a16="http://schemas.microsoft.com/office/drawing/2014/main" xmlns="" id="{1940C871-C743-DF09-589B-CD35C910E726}"/>
              </a:ext>
            </a:extLst>
          </p:cNvPr>
          <p:cNvSpPr/>
          <p:nvPr/>
        </p:nvSpPr>
        <p:spPr>
          <a:xfrm>
            <a:off x="516000" y="3493346"/>
            <a:ext cx="1315008" cy="1332000"/>
          </a:xfrm>
          <a:prstGeom prst="roundRect">
            <a:avLst>
              <a:gd name="adj" fmla="val 7708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xmlns="" id="{88F7785A-C28B-C91D-5935-E38E6ED8A0E0}"/>
              </a:ext>
            </a:extLst>
          </p:cNvPr>
          <p:cNvGrpSpPr/>
          <p:nvPr/>
        </p:nvGrpSpPr>
        <p:grpSpPr>
          <a:xfrm>
            <a:off x="716096" y="3694706"/>
            <a:ext cx="914817" cy="929281"/>
            <a:chOff x="716096" y="3620868"/>
            <a:chExt cx="914817" cy="929281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xmlns="" id="{F1025C11-BD6A-491A-CEDC-15FFEC296B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75984" y="3620868"/>
              <a:ext cx="595041" cy="595041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xmlns="" id="{70BFCB36-A121-FD21-7AF1-6DC6223ADAE5}"/>
                </a:ext>
              </a:extLst>
            </p:cNvPr>
            <p:cNvSpPr txBox="1"/>
            <p:nvPr/>
          </p:nvSpPr>
          <p:spPr>
            <a:xfrm>
              <a:off x="716096" y="4301395"/>
              <a:ext cx="914817" cy="248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ОЗНИЦА</a:t>
              </a:r>
            </a:p>
          </p:txBody>
        </p:sp>
      </p:grpSp>
      <p:sp>
        <p:nvSpPr>
          <p:cNvPr id="26" name="Rounded Rectangle 115">
            <a:extLst>
              <a:ext uri="{FF2B5EF4-FFF2-40B4-BE49-F238E27FC236}">
                <a16:creationId xmlns:a16="http://schemas.microsoft.com/office/drawing/2014/main" xmlns="" id="{29D6C57F-5C22-E0AF-768D-DD362BD37178}"/>
              </a:ext>
            </a:extLst>
          </p:cNvPr>
          <p:cNvSpPr/>
          <p:nvPr/>
        </p:nvSpPr>
        <p:spPr>
          <a:xfrm>
            <a:off x="516000" y="5163467"/>
            <a:ext cx="1315008" cy="1352259"/>
          </a:xfrm>
          <a:prstGeom prst="roundRect">
            <a:avLst>
              <a:gd name="adj" fmla="val 7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xmlns="" id="{665C5B96-652D-608D-BD7C-6EE1CC38D1D1}"/>
              </a:ext>
            </a:extLst>
          </p:cNvPr>
          <p:cNvGrpSpPr/>
          <p:nvPr/>
        </p:nvGrpSpPr>
        <p:grpSpPr>
          <a:xfrm>
            <a:off x="516000" y="5388890"/>
            <a:ext cx="1315008" cy="881157"/>
            <a:chOff x="516000" y="5731060"/>
            <a:chExt cx="1315008" cy="881157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xmlns="" id="{3A2996AD-DAD0-947B-E5B6-924239F51AA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75984" y="5731060"/>
              <a:ext cx="595041" cy="595041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xmlns="" id="{3F24F13D-D492-1D29-85F0-CDCEFD7F75FF}"/>
                </a:ext>
              </a:extLst>
            </p:cNvPr>
            <p:cNvSpPr txBox="1"/>
            <p:nvPr/>
          </p:nvSpPr>
          <p:spPr>
            <a:xfrm>
              <a:off x="516000" y="6365996"/>
              <a:ext cx="13150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ВСЕ УЧАСТНИКИ</a:t>
              </a:r>
            </a:p>
          </p:txBody>
        </p:sp>
      </p:grp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xmlns="" id="{1E3972F3-26DD-1ABB-DAA5-7D0B78408DB2}"/>
              </a:ext>
            </a:extLst>
          </p:cNvPr>
          <p:cNvSpPr/>
          <p:nvPr/>
        </p:nvSpPr>
        <p:spPr>
          <a:xfrm>
            <a:off x="3707161" y="1726907"/>
            <a:ext cx="1512000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октября 2023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Rounded Rectangle 74">
            <a:extLst>
              <a:ext uri="{FF2B5EF4-FFF2-40B4-BE49-F238E27FC236}">
                <a16:creationId xmlns:a16="http://schemas.microsoft.com/office/drawing/2014/main" xmlns="" id="{4BE88A0C-09D7-12AF-AFCA-1D7DE3FB18CE}"/>
              </a:ext>
            </a:extLst>
          </p:cNvPr>
          <p:cNvSpPr/>
          <p:nvPr/>
        </p:nvSpPr>
        <p:spPr>
          <a:xfrm>
            <a:off x="5273844" y="1726907"/>
            <a:ext cx="1512000" cy="30776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5 января 2024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31" name="Straight Connector 7">
            <a:extLst>
              <a:ext uri="{FF2B5EF4-FFF2-40B4-BE49-F238E27FC236}">
                <a16:creationId xmlns:a16="http://schemas.microsoft.com/office/drawing/2014/main" xmlns="" id="{5C73A8C0-4FF8-5074-C034-2D7EDFC9A6D5}"/>
              </a:ext>
            </a:extLst>
          </p:cNvPr>
          <p:cNvCxnSpPr>
            <a:cxnSpLocks/>
            <a:stCxn id="34" idx="3"/>
            <a:endCxn id="39" idx="1"/>
          </p:cNvCxnSpPr>
          <p:nvPr/>
        </p:nvCxnSpPr>
        <p:spPr>
          <a:xfrm>
            <a:off x="3149168" y="2392907"/>
            <a:ext cx="1043993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>
            <a:extLst>
              <a:ext uri="{FF2B5EF4-FFF2-40B4-BE49-F238E27FC236}">
                <a16:creationId xmlns:a16="http://schemas.microsoft.com/office/drawing/2014/main" xmlns="" id="{9CEC98A3-416A-FBEB-AFEB-74272FE945C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/>
          <a:stretch/>
        </p:blipFill>
        <p:spPr>
          <a:xfrm>
            <a:off x="2609168" y="2122907"/>
            <a:ext cx="540000" cy="540000"/>
          </a:xfrm>
          <a:prstGeom prst="rect">
            <a:avLst/>
          </a:prstGeom>
        </p:spPr>
      </p:pic>
      <p:cxnSp>
        <p:nvCxnSpPr>
          <p:cNvPr id="35" name="Straight Connector 7">
            <a:extLst>
              <a:ext uri="{FF2B5EF4-FFF2-40B4-BE49-F238E27FC236}">
                <a16:creationId xmlns:a16="http://schemas.microsoft.com/office/drawing/2014/main" xmlns="" id="{19191859-934C-EF5D-93F1-D6E90B8ED43B}"/>
              </a:ext>
            </a:extLst>
          </p:cNvPr>
          <p:cNvCxnSpPr>
            <a:cxnSpLocks/>
            <a:stCxn id="41" idx="3"/>
          </p:cNvCxnSpPr>
          <p:nvPr/>
        </p:nvCxnSpPr>
        <p:spPr>
          <a:xfrm>
            <a:off x="6299844" y="2392907"/>
            <a:ext cx="2678282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7">
            <a:extLst>
              <a:ext uri="{FF2B5EF4-FFF2-40B4-BE49-F238E27FC236}">
                <a16:creationId xmlns:a16="http://schemas.microsoft.com/office/drawing/2014/main" xmlns="" id="{9031334F-E3D3-6BFA-DAAE-7FF50E093188}"/>
              </a:ext>
            </a:extLst>
          </p:cNvPr>
          <p:cNvCxnSpPr>
            <a:cxnSpLocks/>
            <a:stCxn id="39" idx="3"/>
            <a:endCxn id="41" idx="1"/>
          </p:cNvCxnSpPr>
          <p:nvPr/>
        </p:nvCxnSpPr>
        <p:spPr>
          <a:xfrm>
            <a:off x="4733161" y="2392907"/>
            <a:ext cx="1026683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Овал 13">
            <a:extLst>
              <a:ext uri="{FF2B5EF4-FFF2-40B4-BE49-F238E27FC236}">
                <a16:creationId xmlns:a16="http://schemas.microsoft.com/office/drawing/2014/main" xmlns="" id="{AB71381D-C372-B4BD-DA95-598F6DF5DF3F}"/>
              </a:ext>
            </a:extLst>
          </p:cNvPr>
          <p:cNvSpPr/>
          <p:nvPr/>
        </p:nvSpPr>
        <p:spPr>
          <a:xfrm>
            <a:off x="4303415" y="2346784"/>
            <a:ext cx="285717" cy="40984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9" name="Picture 69">
            <a:extLst>
              <a:ext uri="{FF2B5EF4-FFF2-40B4-BE49-F238E27FC236}">
                <a16:creationId xmlns:a16="http://schemas.microsoft.com/office/drawing/2014/main" xmlns="" id="{0BCBA8A0-FA97-DD22-3DAB-89B8187628F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rcRect/>
          <a:stretch/>
        </p:blipFill>
        <p:spPr>
          <a:xfrm>
            <a:off x="4193161" y="2122907"/>
            <a:ext cx="540000" cy="540000"/>
          </a:xfrm>
          <a:prstGeom prst="rect">
            <a:avLst/>
          </a:prstGeom>
          <a:noFill/>
        </p:spPr>
      </p:pic>
      <p:sp>
        <p:nvSpPr>
          <p:cNvPr id="40" name="Rounded Rectangle 74">
            <a:extLst>
              <a:ext uri="{FF2B5EF4-FFF2-40B4-BE49-F238E27FC236}">
                <a16:creationId xmlns:a16="http://schemas.microsoft.com/office/drawing/2014/main" xmlns="" id="{010EE992-6C9B-0D10-760F-A87E44481BE4}"/>
              </a:ext>
            </a:extLst>
          </p:cNvPr>
          <p:cNvSpPr/>
          <p:nvPr/>
        </p:nvSpPr>
        <p:spPr>
          <a:xfrm>
            <a:off x="2123168" y="1726907"/>
            <a:ext cx="1512000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апреля 2023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1" name="Рисунок 5">
            <a:extLst>
              <a:ext uri="{FF2B5EF4-FFF2-40B4-BE49-F238E27FC236}">
                <a16:creationId xmlns:a16="http://schemas.microsoft.com/office/drawing/2014/main" xmlns="" id="{6FAD22BA-E3B9-91EB-3CBF-903EDEB459D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rcRect/>
          <a:stretch/>
        </p:blipFill>
        <p:spPr>
          <a:xfrm>
            <a:off x="5759844" y="2122907"/>
            <a:ext cx="540000" cy="540000"/>
          </a:xfrm>
          <a:prstGeom prst="rect">
            <a:avLst/>
          </a:prstGeom>
        </p:spPr>
      </p:pic>
      <p:cxnSp>
        <p:nvCxnSpPr>
          <p:cNvPr id="45" name="Straight Connector 7">
            <a:extLst>
              <a:ext uri="{FF2B5EF4-FFF2-40B4-BE49-F238E27FC236}">
                <a16:creationId xmlns:a16="http://schemas.microsoft.com/office/drawing/2014/main" xmlns="" id="{1589A43A-8A66-13DF-65E6-28B632E739F9}"/>
              </a:ext>
            </a:extLst>
          </p:cNvPr>
          <p:cNvCxnSpPr>
            <a:cxnSpLocks/>
            <a:stCxn id="82" idx="3"/>
          </p:cNvCxnSpPr>
          <p:nvPr/>
        </p:nvCxnSpPr>
        <p:spPr>
          <a:xfrm>
            <a:off x="8634376" y="4105233"/>
            <a:ext cx="486000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xmlns="" id="{08958E63-728F-7406-7D4F-0EE528CE271C}"/>
              </a:ext>
            </a:extLst>
          </p:cNvPr>
          <p:cNvCxnSpPr>
            <a:cxnSpLocks/>
            <a:endCxn id="76" idx="1"/>
          </p:cNvCxnSpPr>
          <p:nvPr/>
        </p:nvCxnSpPr>
        <p:spPr>
          <a:xfrm>
            <a:off x="1755555" y="4105233"/>
            <a:ext cx="4004289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7">
            <a:extLst>
              <a:ext uri="{FF2B5EF4-FFF2-40B4-BE49-F238E27FC236}">
                <a16:creationId xmlns:a16="http://schemas.microsoft.com/office/drawing/2014/main" xmlns="" id="{CF51570D-E55D-A9F4-74AC-72F685A75B8B}"/>
              </a:ext>
            </a:extLst>
          </p:cNvPr>
          <p:cNvCxnSpPr>
            <a:cxnSpLocks/>
            <a:stCxn id="76" idx="3"/>
            <a:endCxn id="82" idx="1"/>
          </p:cNvCxnSpPr>
          <p:nvPr/>
        </p:nvCxnSpPr>
        <p:spPr>
          <a:xfrm>
            <a:off x="6299844" y="4105233"/>
            <a:ext cx="1794532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6" name="Picture 33">
            <a:extLst>
              <a:ext uri="{FF2B5EF4-FFF2-40B4-BE49-F238E27FC236}">
                <a16:creationId xmlns:a16="http://schemas.microsoft.com/office/drawing/2014/main" xmlns="" id="{1FF8D804-E9E7-CED9-1AC9-82B32446B61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/>
          <a:stretch/>
        </p:blipFill>
        <p:spPr>
          <a:xfrm>
            <a:off x="5759844" y="3835233"/>
            <a:ext cx="540000" cy="540000"/>
          </a:xfrm>
          <a:prstGeom prst="rect">
            <a:avLst/>
          </a:prstGeom>
        </p:spPr>
      </p:pic>
      <p:sp>
        <p:nvSpPr>
          <p:cNvPr id="77" name="Rounded Rectangle 74">
            <a:extLst>
              <a:ext uri="{FF2B5EF4-FFF2-40B4-BE49-F238E27FC236}">
                <a16:creationId xmlns:a16="http://schemas.microsoft.com/office/drawing/2014/main" xmlns="" id="{9958DAFC-CCF0-B16F-81C0-88B1CBDDFCE4}"/>
              </a:ext>
            </a:extLst>
          </p:cNvPr>
          <p:cNvSpPr/>
          <p:nvPr/>
        </p:nvSpPr>
        <p:spPr>
          <a:xfrm>
            <a:off x="5273844" y="3439233"/>
            <a:ext cx="1512000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5 января 2024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2" name="Picture 33">
            <a:extLst>
              <a:ext uri="{FF2B5EF4-FFF2-40B4-BE49-F238E27FC236}">
                <a16:creationId xmlns:a16="http://schemas.microsoft.com/office/drawing/2014/main" xmlns="" id="{CA54A9AD-B46A-38BA-AAF0-F6E7B9474581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rcRect/>
          <a:stretch/>
        </p:blipFill>
        <p:spPr>
          <a:xfrm>
            <a:off x="8094376" y="3851793"/>
            <a:ext cx="540000" cy="506880"/>
          </a:xfrm>
          <a:prstGeom prst="rect">
            <a:avLst/>
          </a:prstGeom>
        </p:spPr>
      </p:pic>
      <p:sp>
        <p:nvSpPr>
          <p:cNvPr id="83" name="Rounded Rectangle 74">
            <a:extLst>
              <a:ext uri="{FF2B5EF4-FFF2-40B4-BE49-F238E27FC236}">
                <a16:creationId xmlns:a16="http://schemas.microsoft.com/office/drawing/2014/main" xmlns="" id="{AE796D94-ED3F-57B1-8C69-F6D87B798358}"/>
              </a:ext>
            </a:extLst>
          </p:cNvPr>
          <p:cNvSpPr/>
          <p:nvPr/>
        </p:nvSpPr>
        <p:spPr>
          <a:xfrm>
            <a:off x="7608376" y="3439233"/>
            <a:ext cx="1512000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июня 2024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xmlns="" id="{CCD8046C-AADC-F4EB-8861-B7CD37D891D5}"/>
              </a:ext>
            </a:extLst>
          </p:cNvPr>
          <p:cNvSpPr/>
          <p:nvPr/>
        </p:nvSpPr>
        <p:spPr>
          <a:xfrm>
            <a:off x="2041392" y="6135247"/>
            <a:ext cx="1645042" cy="380480"/>
          </a:xfrm>
          <a:prstGeom prst="rect">
            <a:avLst/>
          </a:prstGeom>
        </p:spPr>
        <p:txBody>
          <a:bodyPr wrap="square" tIns="72000" bIns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000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ртикульно-партионный</a:t>
            </a:r>
            <a:endParaRPr lang="ru-RU" sz="1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чет (ЕГАИС)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xmlns="" id="{8530933A-96FC-EDFE-0CE5-D439A6CB6018}"/>
              </a:ext>
            </a:extLst>
          </p:cNvPr>
          <p:cNvSpPr/>
          <p:nvPr/>
        </p:nvSpPr>
        <p:spPr>
          <a:xfrm>
            <a:off x="4884157" y="6135247"/>
            <a:ext cx="3205182" cy="380480"/>
          </a:xfrm>
          <a:prstGeom prst="rect">
            <a:avLst/>
          </a:prstGeom>
        </p:spPr>
        <p:txBody>
          <a:bodyPr wrap="square" tIns="72000" bIns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кты списания ежедневно и декларации ежеквартально в ЕГАИС:</a:t>
            </a:r>
          </a:p>
        </p:txBody>
      </p:sp>
      <p:pic>
        <p:nvPicPr>
          <p:cNvPr id="99" name="Picture 98">
            <a:extLst>
              <a:ext uri="{FF2B5EF4-FFF2-40B4-BE49-F238E27FC236}">
                <a16:creationId xmlns:a16="http://schemas.microsoft.com/office/drawing/2014/main" xmlns="" id="{BFD2C94F-A414-59D1-995F-CD622B9019DC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rcRect/>
          <a:stretch/>
        </p:blipFill>
        <p:spPr>
          <a:xfrm>
            <a:off x="6244829" y="5564683"/>
            <a:ext cx="483839" cy="540000"/>
          </a:xfrm>
          <a:prstGeom prst="rect">
            <a:avLst/>
          </a:prstGeom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xmlns="" id="{48CEC50D-B477-7891-6C72-EFB4A401F4C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8"/>
              </a:ext>
            </a:extLst>
          </a:blip>
          <a:srcRect/>
          <a:stretch/>
        </p:blipFill>
        <p:spPr>
          <a:xfrm>
            <a:off x="2593913" y="5564683"/>
            <a:ext cx="540000" cy="540000"/>
          </a:xfrm>
          <a:prstGeom prst="rect">
            <a:avLst/>
          </a:prstGeom>
        </p:spPr>
      </p:pic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xmlns="" id="{7563793A-1EFE-4D12-F62B-897184772803}"/>
              </a:ext>
            </a:extLst>
          </p:cNvPr>
          <p:cNvCxnSpPr>
            <a:cxnSpLocks/>
            <a:stCxn id="100" idx="3"/>
            <a:endCxn id="99" idx="1"/>
          </p:cNvCxnSpPr>
          <p:nvPr/>
        </p:nvCxnSpPr>
        <p:spPr>
          <a:xfrm>
            <a:off x="3133913" y="5834683"/>
            <a:ext cx="3110916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7">
            <a:extLst>
              <a:ext uri="{FF2B5EF4-FFF2-40B4-BE49-F238E27FC236}">
                <a16:creationId xmlns:a16="http://schemas.microsoft.com/office/drawing/2014/main" xmlns="" id="{C29B4D13-CF12-05C1-756A-F3AF131261F7}"/>
              </a:ext>
            </a:extLst>
          </p:cNvPr>
          <p:cNvCxnSpPr>
            <a:cxnSpLocks/>
          </p:cNvCxnSpPr>
          <p:nvPr/>
        </p:nvCxnSpPr>
        <p:spPr>
          <a:xfrm>
            <a:off x="6780862" y="5834683"/>
            <a:ext cx="2339514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ounded Rectangle 74">
            <a:extLst>
              <a:ext uri="{FF2B5EF4-FFF2-40B4-BE49-F238E27FC236}">
                <a16:creationId xmlns:a16="http://schemas.microsoft.com/office/drawing/2014/main" xmlns="" id="{E2738E62-351E-4356-B70B-B4192BA80A8A}"/>
              </a:ext>
            </a:extLst>
          </p:cNvPr>
          <p:cNvSpPr/>
          <p:nvPr/>
        </p:nvSpPr>
        <p:spPr>
          <a:xfrm>
            <a:off x="2134640" y="5169671"/>
            <a:ext cx="6985735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ез изменений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38970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ottle, indoor, counter, alcohol&#10;&#10;Description automatically generated">
            <a:extLst>
              <a:ext uri="{FF2B5EF4-FFF2-40B4-BE49-F238E27FC236}">
                <a16:creationId xmlns:a16="http://schemas.microsoft.com/office/drawing/2014/main" xmlns="" id="{6AAF634C-FC76-1FCB-1DD3-364FEFB786F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31C4D91-3018-8449-6333-857B0707B8E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3666A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3129566" y="2844800"/>
            <a:ext cx="5932868" cy="11684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начать работать с Честный знак?</a:t>
            </a:r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19604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BC21B256-80BF-E5C5-79F4-973ADBAE897F}"/>
              </a:ext>
            </a:extLst>
          </p:cNvPr>
          <p:cNvSpPr/>
          <p:nvPr/>
        </p:nvSpPr>
        <p:spPr>
          <a:xfrm>
            <a:off x="0" y="5390318"/>
            <a:ext cx="12192000" cy="1467681"/>
          </a:xfrm>
          <a:prstGeom prst="rect">
            <a:avLst/>
          </a:prstGeom>
          <a:solidFill>
            <a:srgbClr val="63666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чало работы с маркировкой</a:t>
            </a:r>
            <a:endParaRPr lang="en-US" sz="2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B7704E9F-8604-4D37-088B-376BF2E35C5C}"/>
              </a:ext>
            </a:extLst>
          </p:cNvPr>
          <p:cNvSpPr txBox="1"/>
          <p:nvPr/>
        </p:nvSpPr>
        <p:spPr>
          <a:xfrm>
            <a:off x="516000" y="2521059"/>
            <a:ext cx="3600000" cy="1846659"/>
          </a:xfrm>
          <a:prstGeom prst="rect">
            <a:avLst/>
          </a:prstGeom>
          <a:noFill/>
        </p:spPr>
        <p:txBody>
          <a:bodyPr wrap="square" lIns="72000" rIns="7200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 panose="020B0603020203020204" pitchFamily="34" charset="0"/>
              </a:rPr>
              <a:t>ЗАРЕГИСТРИРОВАТЬСЯ В СИСТЕМЕ</a:t>
            </a:r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 panose="020B0603020203020204" pitchFamily="34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 panose="020B0603020203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markirovka.crpt.ru/register</a:t>
            </a:r>
            <a:r>
              <a:rPr lang="en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 panose="020B0603020203020204" pitchFamily="34" charset="0"/>
              </a:rPr>
              <a:t>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 panose="020B0603020203020204" pitchFamily="34" charset="0"/>
            </a:endParaRPr>
          </a:p>
          <a:p>
            <a:r>
              <a:rPr lang="ru-RU" sz="1200" b="1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открывшемся окне нажмите ссылку «Зарегистрируйтесь».</a:t>
            </a:r>
          </a:p>
          <a:p>
            <a:r>
              <a:rPr lang="ru-RU" sz="12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поле «Электронная подпись» из выпадающего списка выберите 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КЭП </a:t>
            </a:r>
            <a:r>
              <a:rPr lang="ru-RU" sz="12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енерального директора организации, на форме отобразятся сведения об организации.</a:t>
            </a:r>
            <a:endParaRPr lang="ru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8243C1F3-575B-B83C-E9DF-9BE013A6E9C4}"/>
              </a:ext>
            </a:extLst>
          </p:cNvPr>
          <p:cNvSpPr txBox="1"/>
          <p:nvPr/>
        </p:nvSpPr>
        <p:spPr>
          <a:xfrm>
            <a:off x="4296000" y="2521059"/>
            <a:ext cx="3600000" cy="2585323"/>
          </a:xfrm>
          <a:prstGeom prst="rect">
            <a:avLst/>
          </a:prstGeom>
          <a:noFill/>
        </p:spPr>
        <p:txBody>
          <a:bodyPr wrap="square" lIns="72000" rIns="7200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 panose="020B0603020203020204" pitchFamily="34" charset="0"/>
              </a:rPr>
              <a:t>ОПИСАТЬ ТОВАРЫ</a:t>
            </a:r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 panose="020B0603020203020204" pitchFamily="34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 panose="020B0603020203020204" pitchFamily="34" charset="0"/>
              </a:rPr>
              <a:t>В КАТАЛОГЕ</a:t>
            </a:r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 panose="020B0603020203020204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 panose="020B0603020203020204" pitchFamily="34" charset="0"/>
            </a:endParaRPr>
          </a:p>
          <a:p>
            <a:r>
              <a:rPr lang="ru-RU" sz="1200" b="1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естр товаров</a:t>
            </a:r>
            <a:r>
              <a:rPr lang="ru-RU" sz="12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состоящий из карточек единичных товаров и наборов, формируется в Каталоге маркированных товаров (КМТ). Доступ к КМТ осуществляется из Единого личного кабинета (ЕЛК) системы маркировки «Честный ЗНАК». </a:t>
            </a:r>
          </a:p>
          <a:p>
            <a:r>
              <a:rPr lang="ru-RU" sz="1200" b="1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рточки товаров, ранее созданные в системе ГС1 РУС</a:t>
            </a:r>
            <a:r>
              <a:rPr lang="ru-RU" sz="12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можно самостоятельно загрузить в КМТ, воспользовавшись </a:t>
            </a:r>
            <a:r>
              <a:rPr lang="ru-RU" sz="1200" dirty="0" err="1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дноименнои</a:t>
            </a:r>
            <a:r>
              <a:rPr lang="ru-RU" sz="12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̆ </a:t>
            </a:r>
            <a:r>
              <a:rPr lang="ru-RU" sz="1200" dirty="0" err="1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нопкои</a:t>
            </a:r>
            <a:r>
              <a:rPr lang="ru-RU" sz="12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̆ в профиле участника. </a:t>
            </a:r>
            <a:endParaRPr lang="ru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84C3A6FF-1CD1-7C67-B27E-70BA048CA916}"/>
              </a:ext>
            </a:extLst>
          </p:cNvPr>
          <p:cNvSpPr txBox="1"/>
          <p:nvPr/>
        </p:nvSpPr>
        <p:spPr>
          <a:xfrm>
            <a:off x="8076000" y="2521059"/>
            <a:ext cx="3600000" cy="1661993"/>
          </a:xfrm>
          <a:prstGeom prst="rect">
            <a:avLst/>
          </a:prstGeom>
          <a:noFill/>
        </p:spPr>
        <p:txBody>
          <a:bodyPr wrap="square" lIns="72000" rIns="72000">
            <a:spAutoFit/>
          </a:bodyPr>
          <a:lstStyle/>
          <a:p>
            <a:pPr algn="ctr"/>
            <a:r>
              <a:rPr lang="ru-RU" sz="1400" b="1" dirty="0">
                <a:solidFill>
                  <a:srgbClr val="63666B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ЗАКАЗАТЬ КОДЫ</a:t>
            </a:r>
            <a:endParaRPr lang="en-US" sz="1400" b="1" dirty="0">
              <a:solidFill>
                <a:srgbClr val="63666B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400" b="1" dirty="0">
                <a:solidFill>
                  <a:srgbClr val="63666B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МАРКИРОВКИ </a:t>
            </a:r>
            <a:endParaRPr lang="en-US" sz="1400" b="1" dirty="0">
              <a:solidFill>
                <a:srgbClr val="63666B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1400" dirty="0">
              <a:solidFill>
                <a:srgbClr val="63666B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200" dirty="0">
                <a:solidFill>
                  <a:srgbClr val="63666B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До начала обязательной маркировки коды предоставляются бесплатно.</a:t>
            </a:r>
          </a:p>
          <a:p>
            <a:r>
              <a:rPr lang="ru-RU" sz="1200" dirty="0">
                <a:solidFill>
                  <a:srgbClr val="63666B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Заказ кодов маркировки происходит в СУЗ (станция управления заказами кодов маркировки).</a:t>
            </a:r>
            <a:endParaRPr lang="ru-RU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853DA254-79A0-4AF9-83FD-AFE4E70CD1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956000" y="1409123"/>
            <a:ext cx="715392" cy="8280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A2B3A469-2C22-344B-FBFC-A55536CA540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5682000" y="1409123"/>
            <a:ext cx="828000" cy="8280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xmlns="" id="{408557D8-07C6-843A-ED2B-A07D20AF686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/>
          <a:stretch/>
        </p:blipFill>
        <p:spPr>
          <a:xfrm>
            <a:off x="9462000" y="1409123"/>
            <a:ext cx="828000" cy="828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5E5C4C45-A9D4-25C3-1E06-C25FE46C5DE8}"/>
              </a:ext>
            </a:extLst>
          </p:cNvPr>
          <p:cNvSpPr txBox="1"/>
          <p:nvPr/>
        </p:nvSpPr>
        <p:spPr>
          <a:xfrm>
            <a:off x="1231392" y="5748039"/>
            <a:ext cx="5036344" cy="776348"/>
          </a:xfrm>
          <a:prstGeom prst="rect">
            <a:avLst/>
          </a:prstGeom>
          <a:noFill/>
        </p:spPr>
        <p:txBody>
          <a:bodyPr wrap="square" lIns="180000" tIns="72000" rIns="0" bIns="72000" numCol="1" anchor="ctr">
            <a:spAutoFit/>
          </a:bodyPr>
          <a:lstStyle/>
          <a:p>
            <a:pPr algn="l" fontAlgn="ctr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</a:rPr>
              <a:t>Подробные </a:t>
            </a:r>
            <a:r>
              <a:rPr lang="ru-RU" sz="1200" b="1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</a:rPr>
              <a:t>инструкции</a:t>
            </a:r>
            <a:r>
              <a:rPr lang="ru-RU" sz="1200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</a:rPr>
              <a:t> от Оператора на сайте </a:t>
            </a:r>
            <a:r>
              <a:rPr lang="ru-RU" sz="1200" b="1" dirty="0" err="1">
                <a:solidFill>
                  <a:schemeClr val="bg1"/>
                </a:solidFill>
                <a:latin typeface="Segoe UI Semilight" panose="020B0502040204020203" pitchFamily="34" charset="0"/>
                <a:ea typeface="Segoe UI" panose="020B0502040204020203" pitchFamily="34" charset="0"/>
                <a:cs typeface="Segoe UI Semilight" panose="020B0502040204020203" pitchFamily="34" charset="0"/>
                <a:sym typeface="PT Sans Caption"/>
              </a:rPr>
              <a:t>ЧестныйЗнак.рф</a:t>
            </a:r>
            <a:endParaRPr lang="ru-RU" sz="1200" b="1" dirty="0">
              <a:solidFill>
                <a:schemeClr val="bg1"/>
              </a:solidFill>
              <a:latin typeface="Segoe UI Semilight" panose="020B0502040204020203" pitchFamily="34" charset="0"/>
              <a:ea typeface="Segoe UI" panose="020B0502040204020203" pitchFamily="34" charset="0"/>
              <a:cs typeface="Segoe UI Semilight" panose="020B0502040204020203" pitchFamily="34" charset="0"/>
              <a:sym typeface="PT Sans Caption"/>
            </a:endParaRPr>
          </a:p>
          <a:p>
            <a:pPr algn="l" fontAlgn="ctr">
              <a:spcBef>
                <a:spcPts val="600"/>
              </a:spcBef>
            </a:pPr>
            <a:r>
              <a:rPr lang="en" sz="1200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</a:t>
            </a:r>
            <a:r>
              <a:rPr lang="ru-RU" sz="1200" dirty="0" err="1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честныйзнак.рф</a:t>
            </a:r>
            <a:r>
              <a:rPr lang="ru-RU" sz="1200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/</a:t>
            </a:r>
            <a:r>
              <a:rPr lang="en" sz="1200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business/doc/?id=</a:t>
            </a:r>
            <a:r>
              <a:rPr lang="ru-RU" sz="1200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Инструкция_по_регистрации_участника_оборота_товаров.</a:t>
            </a:r>
            <a:r>
              <a:rPr lang="en" sz="1200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ml</a:t>
            </a:r>
            <a:r>
              <a:rPr lang="ru-RU" sz="1200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  <a:sym typeface="PT Sans Caption"/>
              </a:rPr>
              <a:t> </a:t>
            </a:r>
            <a:endParaRPr lang="ru-RU" sz="1200" dirty="0">
              <a:solidFill>
                <a:schemeClr val="bg1"/>
              </a:solidFill>
              <a:latin typeface="Segoe UI Semilight" panose="020B0502040204020203" pitchFamily="34" charset="0"/>
              <a:cs typeface="Segoe UI Semilight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4A611FD5-C898-DAB3-5CB2-EBF75A02F139}"/>
              </a:ext>
            </a:extLst>
          </p:cNvPr>
          <p:cNvSpPr txBox="1"/>
          <p:nvPr/>
        </p:nvSpPr>
        <p:spPr>
          <a:xfrm>
            <a:off x="7896000" y="5748039"/>
            <a:ext cx="3822862" cy="776348"/>
          </a:xfrm>
          <a:prstGeom prst="rect">
            <a:avLst/>
          </a:prstGeom>
          <a:noFill/>
        </p:spPr>
        <p:txBody>
          <a:bodyPr wrap="square" lIns="180000" tIns="72000" rIns="0" bIns="72000" anchor="ctr">
            <a:spAutoFit/>
          </a:bodyPr>
          <a:lstStyle/>
          <a:p>
            <a:pPr algn="l" fontAlgn="ctr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</a:rPr>
              <a:t>Большое количество обучающих </a:t>
            </a:r>
            <a:r>
              <a:rPr lang="ru-RU" sz="1200" b="1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</a:rPr>
              <a:t>видеороликов</a:t>
            </a:r>
            <a:r>
              <a:rPr lang="ru-RU" sz="1200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</a:rPr>
              <a:t> на каждую тему </a:t>
            </a:r>
            <a:r>
              <a:rPr lang="ru-RU" sz="1200" b="1" dirty="0" err="1">
                <a:solidFill>
                  <a:schemeClr val="bg1"/>
                </a:solidFill>
                <a:latin typeface="Segoe UI Semilight" panose="020B0502040204020203" pitchFamily="34" charset="0"/>
                <a:ea typeface="Segoe UI" panose="020B0502040204020203" pitchFamily="34" charset="0"/>
                <a:cs typeface="Segoe UI Semilight" panose="020B0502040204020203" pitchFamily="34" charset="0"/>
                <a:sym typeface="PT Sans Caption"/>
              </a:rPr>
              <a:t>ЧестныйЗнак.рф</a:t>
            </a:r>
            <a:endParaRPr lang="ru-RU" sz="1200" b="1" dirty="0">
              <a:solidFill>
                <a:schemeClr val="bg1"/>
              </a:solidFill>
              <a:latin typeface="Segoe UI Semilight" panose="020B0502040204020203" pitchFamily="34" charset="0"/>
              <a:ea typeface="Segoe UI" panose="020B0502040204020203" pitchFamily="34" charset="0"/>
              <a:cs typeface="Segoe UI Semilight" panose="020B0502040204020203" pitchFamily="34" charset="0"/>
              <a:sym typeface="PT Sans Caption"/>
            </a:endParaRPr>
          </a:p>
          <a:p>
            <a:pPr algn="l" fontAlgn="ctr">
              <a:spcBef>
                <a:spcPts val="600"/>
              </a:spcBef>
            </a:pPr>
            <a:r>
              <a:rPr lang="en" sz="1200" b="1" dirty="0">
                <a:solidFill>
                  <a:schemeClr val="bg1"/>
                </a:solidFill>
                <a:latin typeface="Segoe UI Semilight" panose="020B0502040204020203" pitchFamily="34" charset="0"/>
                <a:ea typeface="Segoe UI" panose="020B0502040204020203" pitchFamily="34" charset="0"/>
                <a:cs typeface="Segoe UI Semilight" panose="020B0502040204020203" pitchFamily="34" charset="0"/>
                <a:sym typeface="PT Sans Caption"/>
                <a:hlinkClick r:id="rId10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kb.crpt.ru/_wt/video_instructions</a:t>
            </a:r>
            <a:r>
              <a:rPr lang="ru-RU" sz="1200" b="1" dirty="0">
                <a:solidFill>
                  <a:schemeClr val="bg1"/>
                </a:solidFill>
                <a:latin typeface="Segoe UI Semilight" panose="020B0502040204020203" pitchFamily="34" charset="0"/>
                <a:ea typeface="Segoe UI" panose="020B0502040204020203" pitchFamily="34" charset="0"/>
                <a:cs typeface="Segoe UI Semilight" panose="020B0502040204020203" pitchFamily="34" charset="0"/>
                <a:sym typeface="PT Sans Caption"/>
              </a:rPr>
              <a:t> 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xmlns="" id="{FA5D5235-1F9D-87D9-5C39-8424424AEE3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rcRect/>
          <a:stretch/>
        </p:blipFill>
        <p:spPr>
          <a:xfrm>
            <a:off x="516000" y="5778517"/>
            <a:ext cx="715392" cy="715392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xmlns="" id="{5F9CAF05-2086-1781-4C4C-72DF23648EAB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rcRect/>
          <a:stretch/>
        </p:blipFill>
        <p:spPr>
          <a:xfrm>
            <a:off x="7180608" y="5778517"/>
            <a:ext cx="715392" cy="71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8317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2">
            <a:extLst>
              <a:ext uri="{FF2B5EF4-FFF2-40B4-BE49-F238E27FC236}">
                <a16:creationId xmlns:a16="http://schemas.microsoft.com/office/drawing/2014/main" xmlns="" id="{32C7E90A-E7AF-6FFF-2768-D63E5DEDD16A}"/>
              </a:ext>
            </a:extLst>
          </p:cNvPr>
          <p:cNvSpPr/>
          <p:nvPr/>
        </p:nvSpPr>
        <p:spPr>
          <a:xfrm>
            <a:off x="7144397" y="0"/>
            <a:ext cx="5047603" cy="685800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6112397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писание товара = получение кода товара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A917AFB4-62C1-762E-696F-0D449EC51A9B}"/>
              </a:ext>
            </a:extLst>
          </p:cNvPr>
          <p:cNvSpPr/>
          <p:nvPr/>
        </p:nvSpPr>
        <p:spPr>
          <a:xfrm>
            <a:off x="516000" y="1512021"/>
            <a:ext cx="6188075" cy="4985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трана производства по общероссийскому классификатору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д товара (при наличии);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д ЕГАИС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ное наименование товара;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 знаков ТН ВЭД и код ОКПД2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оварный знак или торговое обозначение (при наличии);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еквизиты регистрации товарного знака (при наличии)</a:t>
            </a:r>
            <a:r>
              <a:rPr lang="en-US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;</a:t>
            </a:r>
            <a:endParaRPr lang="ru-RU" sz="14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ип, объем, состав продукта;</a:t>
            </a:r>
          </a:p>
          <a:p>
            <a:pPr marL="27360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характеристики, тип и материал упаковки; 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сновной состав;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ъемная доля спирта;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екларация соответствия;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еографическое указание или НМПТ (при наличии);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ип фильтрации, пастеризации, сахар и метод газирования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рок годности пива при вскрытии кега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омер государственной регистрации товарного знака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омер свидетельства о праве на географическое указание</a:t>
            </a:r>
          </a:p>
        </p:txBody>
      </p:sp>
      <p:pic>
        <p:nvPicPr>
          <p:cNvPr id="5" name="Рисунок 47">
            <a:extLst>
              <a:ext uri="{FF2B5EF4-FFF2-40B4-BE49-F238E27FC236}">
                <a16:creationId xmlns:a16="http://schemas.microsoft.com/office/drawing/2014/main" xmlns="" id="{99A9305A-8977-D67E-E4F5-DF012DA02BB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7847442" y="359999"/>
            <a:ext cx="3641512" cy="3554115"/>
          </a:xfrm>
          <a:prstGeom prst="rect">
            <a:avLst/>
          </a:prstGeom>
        </p:spPr>
      </p:pic>
      <p:sp>
        <p:nvSpPr>
          <p:cNvPr id="7" name="Скругленный прямоугольник 8">
            <a:extLst>
              <a:ext uri="{FF2B5EF4-FFF2-40B4-BE49-F238E27FC236}">
                <a16:creationId xmlns:a16="http://schemas.microsoft.com/office/drawing/2014/main" xmlns="" id="{ABB3E326-F9B2-EB34-4FA5-3C7B69B79500}"/>
              </a:ext>
            </a:extLst>
          </p:cNvPr>
          <p:cNvSpPr/>
          <p:nvPr/>
        </p:nvSpPr>
        <p:spPr>
          <a:xfrm>
            <a:off x="7397664" y="4605756"/>
            <a:ext cx="4541069" cy="1640498"/>
          </a:xfrm>
          <a:prstGeom prst="roundRect">
            <a:avLst>
              <a:gd name="adj" fmla="val 957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0" tIns="180000" rIns="180000" bIns="180000"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Регистрация пива и слабоалкогольных напитков в Национальном каталоге (подсистема ГИС МТ) = получение кода товара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9DA4D47D-383F-57DB-A75A-DC1F44AB1CB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7487442" y="5093845"/>
            <a:ext cx="720000" cy="66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6222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469F3214-CE8A-4FDB-AE84-F4D7B83C16D0}"/>
              </a:ext>
            </a:extLst>
          </p:cNvPr>
          <p:cNvSpPr txBox="1"/>
          <p:nvPr/>
        </p:nvSpPr>
        <p:spPr>
          <a:xfrm>
            <a:off x="516000" y="6174073"/>
            <a:ext cx="944100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оимость кода 50 копеек без НДС. До начала обязательной маркировки коды предоставляются бесплатно.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10E8A168-8AA8-4442-8666-DD97F8AAE7BD}"/>
              </a:ext>
            </a:extLst>
          </p:cNvPr>
          <p:cNvSpPr txBox="1"/>
          <p:nvPr/>
        </p:nvSpPr>
        <p:spPr>
          <a:xfrm>
            <a:off x="3048000" y="1439284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ОСОБЫ ОПЛАТЫ КОДОВ МАРКИРОВКИ:</a:t>
            </a:r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xmlns="" id="{115C9086-7515-51F8-27BF-EACE7FD87EC4}"/>
              </a:ext>
            </a:extLst>
          </p:cNvPr>
          <p:cNvCxnSpPr>
            <a:cxnSpLocks/>
          </p:cNvCxnSpPr>
          <p:nvPr/>
        </p:nvCxnSpPr>
        <p:spPr>
          <a:xfrm>
            <a:off x="516000" y="6042708"/>
            <a:ext cx="11160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Скругленный прямоугольник 8">
            <a:extLst>
              <a:ext uri="{FF2B5EF4-FFF2-40B4-BE49-F238E27FC236}">
                <a16:creationId xmlns:a16="http://schemas.microsoft.com/office/drawing/2014/main" xmlns="" id="{AA6F8625-11AC-172B-EBE2-B9EADCC5CBCB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хемы оплаты кодов маркировки</a:t>
            </a:r>
            <a:endParaRPr lang="x-none" sz="2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AB26991E-684D-B7F2-9083-6A8271535B91}"/>
              </a:ext>
            </a:extLst>
          </p:cNvPr>
          <p:cNvGrpSpPr/>
          <p:nvPr/>
        </p:nvGrpSpPr>
        <p:grpSpPr>
          <a:xfrm>
            <a:off x="921742" y="2138098"/>
            <a:ext cx="10348516" cy="3511048"/>
            <a:chOff x="1266143" y="1816126"/>
            <a:chExt cx="10348516" cy="3511048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xmlns="" id="{3FC382FD-D461-AFFE-746B-103C3CAB761E}"/>
                </a:ext>
              </a:extLst>
            </p:cNvPr>
            <p:cNvGrpSpPr/>
            <p:nvPr/>
          </p:nvGrpSpPr>
          <p:grpSpPr>
            <a:xfrm>
              <a:off x="5401484" y="4761635"/>
              <a:ext cx="6213175" cy="565539"/>
              <a:chOff x="5401484" y="4761635"/>
              <a:chExt cx="6213175" cy="565539"/>
            </a:xfrm>
          </p:grpSpPr>
          <p:sp>
            <p:nvSpPr>
              <p:cNvPr id="27" name="object 10">
                <a:extLst>
                  <a:ext uri="{FF2B5EF4-FFF2-40B4-BE49-F238E27FC236}">
                    <a16:creationId xmlns:a16="http://schemas.microsoft.com/office/drawing/2014/main" xmlns="" id="{493C0153-FD81-D447-864F-B746D96514FF}"/>
                  </a:ext>
                </a:extLst>
              </p:cNvPr>
              <p:cNvSpPr txBox="1"/>
              <p:nvPr/>
            </p:nvSpPr>
            <p:spPr>
              <a:xfrm>
                <a:off x="8554659" y="4761635"/>
                <a:ext cx="3060000" cy="565539"/>
              </a:xfrm>
              <a:prstGeom prst="rect">
                <a:avLst/>
              </a:prstGeom>
            </p:spPr>
            <p:txBody>
              <a:bodyPr vert="horz" wrap="square" lIns="0" tIns="11430" rIns="0" bIns="0" rtlCol="0">
                <a:spAutoFit/>
              </a:bodyPr>
              <a:lstStyle/>
              <a:p>
                <a:pPr marL="0" lvl="2" algn="ctr">
                  <a:spcBef>
                    <a:spcPts val="1000"/>
                  </a:spcBef>
                </a:pPr>
                <a:r>
                  <a:rPr lang="ru-RU" sz="1200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Срок жизни КМ от эмиссии до успешной обработки отчета о нанесении: </a:t>
                </a:r>
              </a:p>
              <a:p>
                <a:pPr marL="0" lvl="2" algn="ctr"/>
                <a:r>
                  <a:rPr lang="ru-RU" sz="1200" b="1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365 дней </a:t>
                </a:r>
                <a:r>
                  <a:rPr lang="ru-RU" sz="1200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– в типографии.</a:t>
                </a:r>
              </a:p>
            </p:txBody>
          </p:sp>
          <p:sp>
            <p:nvSpPr>
              <p:cNvPr id="28" name="object 10">
                <a:extLst>
                  <a:ext uri="{FF2B5EF4-FFF2-40B4-BE49-F238E27FC236}">
                    <a16:creationId xmlns:a16="http://schemas.microsoft.com/office/drawing/2014/main" xmlns="" id="{B489CE0A-B2BA-D84D-BBF7-1E8BEFD08CFC}"/>
                  </a:ext>
                </a:extLst>
              </p:cNvPr>
              <p:cNvSpPr txBox="1"/>
              <p:nvPr/>
            </p:nvSpPr>
            <p:spPr>
              <a:xfrm>
                <a:off x="5401484" y="4761635"/>
                <a:ext cx="3060000" cy="565539"/>
              </a:xfrm>
              <a:prstGeom prst="rect">
                <a:avLst/>
              </a:prstGeom>
            </p:spPr>
            <p:txBody>
              <a:bodyPr vert="horz" wrap="square" lIns="0" tIns="11430" rIns="0" bIns="0" rtlCol="0">
                <a:spAutoFit/>
              </a:bodyPr>
              <a:lstStyle/>
              <a:p>
                <a:pPr marL="0" lvl="2" algn="ctr"/>
                <a:r>
                  <a:rPr lang="ru-RU" sz="1200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Срок жизни КМ от эмиссии до успешной обработки отчета о нанесении: </a:t>
                </a:r>
              </a:p>
              <a:p>
                <a:pPr marL="0" lvl="2" algn="ctr"/>
                <a:r>
                  <a:rPr lang="ru-RU" sz="1200" b="1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60 дней </a:t>
                </a:r>
                <a:r>
                  <a:rPr lang="ru-RU" sz="1200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– на производстве</a:t>
                </a:r>
              </a:p>
            </p:txBody>
          </p:sp>
        </p:grpSp>
        <p:sp>
          <p:nvSpPr>
            <p:cNvPr id="26" name="object 10">
              <a:extLst>
                <a:ext uri="{FF2B5EF4-FFF2-40B4-BE49-F238E27FC236}">
                  <a16:creationId xmlns:a16="http://schemas.microsoft.com/office/drawing/2014/main" xmlns="" id="{97F44A9A-34B9-B541-B824-C40C6EA4619A}"/>
                </a:ext>
              </a:extLst>
            </p:cNvPr>
            <p:cNvSpPr txBox="1"/>
            <p:nvPr/>
          </p:nvSpPr>
          <p:spPr>
            <a:xfrm>
              <a:off x="1266143" y="2220242"/>
              <a:ext cx="4320000" cy="1063112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marL="0" lvl="2" algn="ctr">
                <a:spcBef>
                  <a:spcPts val="600"/>
                </a:spcBef>
                <a:spcAft>
                  <a:spcPts val="600"/>
                </a:spcAft>
              </a:pPr>
              <a:r>
                <a:rPr lang="ru-RU" sz="16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ОПЛАТА ПО ЭМИССИИ:</a:t>
              </a:r>
              <a:r>
                <a:rPr lang="en-US" sz="16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endParaRPr lang="ru-RU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lvl="2" algn="ctr">
                <a:spcBef>
                  <a:spcPts val="1000"/>
                </a:spcBef>
              </a:pPr>
              <a:r>
                <a:rPr lang="ru-RU" sz="13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Денежные средства резервируются после подписания заказа кодов, списываются при завершении эмиссии кодов (заказ кодов с статусе «Готов»)</a:t>
              </a:r>
            </a:p>
          </p:txBody>
        </p:sp>
        <p:sp>
          <p:nvSpPr>
            <p:cNvPr id="29" name="object 10">
              <a:extLst>
                <a:ext uri="{FF2B5EF4-FFF2-40B4-BE49-F238E27FC236}">
                  <a16:creationId xmlns:a16="http://schemas.microsoft.com/office/drawing/2014/main" xmlns="" id="{1C5AABFE-9717-C348-AA97-5DC4695FC683}"/>
                </a:ext>
              </a:extLst>
            </p:cNvPr>
            <p:cNvSpPr txBox="1"/>
            <p:nvPr/>
          </p:nvSpPr>
          <p:spPr>
            <a:xfrm>
              <a:off x="6348071" y="2220242"/>
              <a:ext cx="4320000" cy="888705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marL="0" lvl="2" algn="ctr">
                <a:spcBef>
                  <a:spcPts val="1200"/>
                </a:spcBef>
                <a:spcAft>
                  <a:spcPts val="600"/>
                </a:spcAft>
              </a:pPr>
              <a:r>
                <a:rPr lang="ru-RU" sz="16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ОПЛАТА ПО ОТЧЕТУ О НАНЕСЕНИИ</a:t>
              </a:r>
              <a:r>
                <a:rPr lang="ru-RU" sz="16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: </a:t>
              </a:r>
            </a:p>
            <a:p>
              <a:pPr marL="0" lvl="2" algn="ctr">
                <a:spcBef>
                  <a:spcPts val="1200"/>
                </a:spcBef>
              </a:pPr>
              <a:r>
                <a:rPr lang="ru-RU" sz="13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Денежные средства списываются с лицевого счета после успешной обработки отчета о нанесении</a:t>
              </a:r>
            </a:p>
          </p:txBody>
        </p:sp>
        <p:sp>
          <p:nvSpPr>
            <p:cNvPr id="35" name="object 10">
              <a:extLst>
                <a:ext uri="{FF2B5EF4-FFF2-40B4-BE49-F238E27FC236}">
                  <a16:creationId xmlns:a16="http://schemas.microsoft.com/office/drawing/2014/main" xmlns="" id="{FB74EC13-C1D7-C749-8A3C-61097EA7DD99}"/>
                </a:ext>
              </a:extLst>
            </p:cNvPr>
            <p:cNvSpPr txBox="1"/>
            <p:nvPr/>
          </p:nvSpPr>
          <p:spPr>
            <a:xfrm>
              <a:off x="2295606" y="4837834"/>
              <a:ext cx="2261074" cy="380873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marL="0" lvl="2" algn="ctr">
                <a:spcBef>
                  <a:spcPts val="1000"/>
                </a:spcBef>
              </a:pPr>
              <a:r>
                <a:rPr lang="ru-RU" sz="12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Срок жизни КМ </a:t>
              </a:r>
            </a:p>
            <a:p>
              <a:pPr marL="0" lvl="2" algn="ctr"/>
              <a:r>
                <a:rPr lang="ru-RU" sz="12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не отсчитывается</a:t>
              </a:r>
            </a:p>
          </p:txBody>
        </p:sp>
        <p:cxnSp>
          <p:nvCxnSpPr>
            <p:cNvPr id="30" name="Straight Connector 38">
              <a:extLst>
                <a:ext uri="{FF2B5EF4-FFF2-40B4-BE49-F238E27FC236}">
                  <a16:creationId xmlns:a16="http://schemas.microsoft.com/office/drawing/2014/main" xmlns="" id="{13D0E9E5-B701-49E3-BAF6-96D308B2E46F}"/>
                </a:ext>
              </a:extLst>
            </p:cNvPr>
            <p:cNvCxnSpPr>
              <a:cxnSpLocks/>
            </p:cNvCxnSpPr>
            <p:nvPr/>
          </p:nvCxnSpPr>
          <p:spPr>
            <a:xfrm>
              <a:off x="3066143" y="2579409"/>
              <a:ext cx="720000" cy="0"/>
            </a:xfrm>
            <a:prstGeom prst="line">
              <a:avLst/>
            </a:prstGeom>
            <a:ln w="50800">
              <a:solidFill>
                <a:srgbClr val="F6F5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xmlns="" id="{631FAF98-6504-4A0C-93C0-6168082016F0}"/>
                </a:ext>
              </a:extLst>
            </p:cNvPr>
            <p:cNvSpPr/>
            <p:nvPr/>
          </p:nvSpPr>
          <p:spPr>
            <a:xfrm>
              <a:off x="3245169" y="1816126"/>
              <a:ext cx="361948" cy="361948"/>
            </a:xfrm>
            <a:prstGeom prst="ellipse">
              <a:avLst/>
            </a:prstGeom>
            <a:solidFill>
              <a:srgbClr val="F6F5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1</a:t>
              </a:r>
            </a:p>
          </p:txBody>
        </p:sp>
        <p:sp>
          <p:nvSpPr>
            <p:cNvPr id="48" name="Овал 47">
              <a:extLst>
                <a:ext uri="{FF2B5EF4-FFF2-40B4-BE49-F238E27FC236}">
                  <a16:creationId xmlns:a16="http://schemas.microsoft.com/office/drawing/2014/main" xmlns="" id="{FBADA0BF-7BE6-4AE3-82D2-8CD59D08204D}"/>
                </a:ext>
              </a:extLst>
            </p:cNvPr>
            <p:cNvSpPr/>
            <p:nvPr/>
          </p:nvSpPr>
          <p:spPr>
            <a:xfrm>
              <a:off x="8327097" y="1816126"/>
              <a:ext cx="361948" cy="361948"/>
            </a:xfrm>
            <a:prstGeom prst="ellipse">
              <a:avLst/>
            </a:prstGeom>
            <a:solidFill>
              <a:srgbClr val="F6F5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2</a:t>
              </a:r>
            </a:p>
          </p:txBody>
        </p:sp>
        <p:cxnSp>
          <p:nvCxnSpPr>
            <p:cNvPr id="21" name="Прямая со стрелкой 20">
              <a:extLst>
                <a:ext uri="{FF2B5EF4-FFF2-40B4-BE49-F238E27FC236}">
                  <a16:creationId xmlns:a16="http://schemas.microsoft.com/office/drawing/2014/main" xmlns="" id="{3ECF7CFD-65F2-4852-8E63-CB4BC6F0E54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426142" y="3292134"/>
              <a:ext cx="2" cy="349037"/>
            </a:xfrm>
            <a:prstGeom prst="straightConnector1">
              <a:avLst/>
            </a:prstGeom>
            <a:ln w="12700">
              <a:solidFill>
                <a:srgbClr val="63666A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49" name="Рисунок 47">
              <a:extLst>
                <a:ext uri="{FF2B5EF4-FFF2-40B4-BE49-F238E27FC236}">
                  <a16:creationId xmlns:a16="http://schemas.microsoft.com/office/drawing/2014/main" xmlns="" id="{58501BCD-8FB3-461E-BC90-90041A705F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21519" y="3677406"/>
              <a:ext cx="1050034" cy="1050034"/>
            </a:xfrm>
            <a:prstGeom prst="rect">
              <a:avLst/>
            </a:prstGeom>
          </p:spPr>
        </p:pic>
        <p:pic>
          <p:nvPicPr>
            <p:cNvPr id="52" name="Picture 36">
              <a:extLst>
                <a:ext uri="{FF2B5EF4-FFF2-40B4-BE49-F238E27FC236}">
                  <a16:creationId xmlns:a16="http://schemas.microsoft.com/office/drawing/2014/main" xmlns="" id="{9795B2A9-AC48-46CA-9976-F3ADED664C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631059" y="3677406"/>
              <a:ext cx="907200" cy="907200"/>
            </a:xfrm>
            <a:prstGeom prst="rect">
              <a:avLst/>
            </a:prstGeom>
          </p:spPr>
        </p:pic>
        <p:pic>
          <p:nvPicPr>
            <p:cNvPr id="61" name="Picture 35">
              <a:extLst>
                <a:ext uri="{FF2B5EF4-FFF2-40B4-BE49-F238E27FC236}">
                  <a16:creationId xmlns:a16="http://schemas.microsoft.com/office/drawing/2014/main" xmlns="" id="{9D9041FA-2774-4A4F-BEB4-D856A98F399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88659" y="3747986"/>
              <a:ext cx="874968" cy="874968"/>
            </a:xfrm>
            <a:prstGeom prst="rect">
              <a:avLst/>
            </a:prstGeom>
          </p:spPr>
        </p:pic>
        <p:cxnSp>
          <p:nvCxnSpPr>
            <p:cNvPr id="5" name="Straight Connector 38">
              <a:extLst>
                <a:ext uri="{FF2B5EF4-FFF2-40B4-BE49-F238E27FC236}">
                  <a16:creationId xmlns:a16="http://schemas.microsoft.com/office/drawing/2014/main" xmlns="" id="{E818BDE1-700D-0B2D-7EC6-0BFF79ADE8AE}"/>
                </a:ext>
              </a:extLst>
            </p:cNvPr>
            <p:cNvCxnSpPr>
              <a:cxnSpLocks/>
            </p:cNvCxnSpPr>
            <p:nvPr/>
          </p:nvCxnSpPr>
          <p:spPr>
            <a:xfrm>
              <a:off x="8148071" y="2579409"/>
              <a:ext cx="720000" cy="0"/>
            </a:xfrm>
            <a:prstGeom prst="line">
              <a:avLst/>
            </a:prstGeom>
            <a:ln w="50800">
              <a:solidFill>
                <a:srgbClr val="F6F5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Elbow Connector 7">
              <a:extLst>
                <a:ext uri="{FF2B5EF4-FFF2-40B4-BE49-F238E27FC236}">
                  <a16:creationId xmlns:a16="http://schemas.microsoft.com/office/drawing/2014/main" xmlns="" id="{ECCA39AC-B3E3-D209-39DB-A6F5143DA0DC}"/>
                </a:ext>
              </a:extLst>
            </p:cNvPr>
            <p:cNvCxnSpPr>
              <a:stCxn id="29" idx="2"/>
              <a:endCxn id="49" idx="0"/>
            </p:cNvCxnSpPr>
            <p:nvPr/>
          </p:nvCxnSpPr>
          <p:spPr>
            <a:xfrm rot="5400000">
              <a:off x="7443075" y="2612409"/>
              <a:ext cx="568459" cy="1561535"/>
            </a:xfrm>
            <a:prstGeom prst="bentConnector3">
              <a:avLst/>
            </a:prstGeom>
            <a:ln w="12700">
              <a:solidFill>
                <a:srgbClr val="63666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Elbow Connector 8">
              <a:extLst>
                <a:ext uri="{FF2B5EF4-FFF2-40B4-BE49-F238E27FC236}">
                  <a16:creationId xmlns:a16="http://schemas.microsoft.com/office/drawing/2014/main" xmlns="" id="{FE3722C7-3EEC-7306-3157-C199426526D6}"/>
                </a:ext>
              </a:extLst>
            </p:cNvPr>
            <p:cNvCxnSpPr>
              <a:cxnSpLocks/>
              <a:stCxn id="29" idx="2"/>
              <a:endCxn id="52" idx="0"/>
            </p:cNvCxnSpPr>
            <p:nvPr/>
          </p:nvCxnSpPr>
          <p:spPr>
            <a:xfrm rot="16200000" flipH="1">
              <a:off x="9012136" y="2604882"/>
              <a:ext cx="568459" cy="1576588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63666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AA6AE01-88F9-717D-F118-D0B09AB1292B}"/>
              </a:ext>
            </a:extLst>
          </p:cNvPr>
          <p:cNvCxnSpPr>
            <a:cxnSpLocks/>
          </p:cNvCxnSpPr>
          <p:nvPr/>
        </p:nvCxnSpPr>
        <p:spPr>
          <a:xfrm>
            <a:off x="516000" y="1857074"/>
            <a:ext cx="11160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48065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7</TotalTime>
  <Words>2425</Words>
  <Application>Microsoft Office PowerPoint</Application>
  <PresentationFormat>Произвольный</PresentationFormat>
  <Paragraphs>441</Paragraphs>
  <Slides>32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2</vt:i4>
      </vt:variant>
    </vt:vector>
  </HeadingPairs>
  <TitlesOfParts>
    <vt:vector size="34" baseType="lpstr"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Черняков Александр</dc:creator>
  <cp:lastModifiedBy>User Windows</cp:lastModifiedBy>
  <cp:revision>35</cp:revision>
  <dcterms:created xsi:type="dcterms:W3CDTF">2021-09-02T15:24:48Z</dcterms:created>
  <dcterms:modified xsi:type="dcterms:W3CDTF">2023-02-21T10:42:19Z</dcterms:modified>
</cp:coreProperties>
</file>